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2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22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23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52" r:id="rId1"/>
  </p:sldMasterIdLst>
  <p:notesMasterIdLst>
    <p:notesMasterId r:id="rId31"/>
  </p:notesMasterIdLst>
  <p:sldIdLst>
    <p:sldId id="10900" r:id="rId2"/>
    <p:sldId id="10909" r:id="rId3"/>
    <p:sldId id="10981" r:id="rId4"/>
    <p:sldId id="10936" r:id="rId5"/>
    <p:sldId id="10996" r:id="rId6"/>
    <p:sldId id="10997" r:id="rId7"/>
    <p:sldId id="10980" r:id="rId8"/>
    <p:sldId id="10985" r:id="rId9"/>
    <p:sldId id="10998" r:id="rId10"/>
    <p:sldId id="10986" r:id="rId11"/>
    <p:sldId id="10987" r:id="rId12"/>
    <p:sldId id="10999" r:id="rId13"/>
    <p:sldId id="11000" r:id="rId14"/>
    <p:sldId id="10953" r:id="rId15"/>
    <p:sldId id="269" r:id="rId16"/>
    <p:sldId id="10989" r:id="rId17"/>
    <p:sldId id="10983" r:id="rId18"/>
    <p:sldId id="10984" r:id="rId19"/>
    <p:sldId id="10992" r:id="rId20"/>
    <p:sldId id="10974" r:id="rId21"/>
    <p:sldId id="10995" r:id="rId22"/>
    <p:sldId id="10899" r:id="rId23"/>
    <p:sldId id="10893" r:id="rId24"/>
    <p:sldId id="10977" r:id="rId25"/>
    <p:sldId id="11001" r:id="rId26"/>
    <p:sldId id="11002" r:id="rId27"/>
    <p:sldId id="11003" r:id="rId28"/>
    <p:sldId id="11004" r:id="rId29"/>
    <p:sldId id="260" r:id="rId30"/>
  </p:sldIdLst>
  <p:sldSz cx="12192000" cy="6858000"/>
  <p:notesSz cx="6662738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na Ángel Poyatos León" initials="JÁPL" lastIdx="18" clrIdx="0"/>
  <p:cmAuthor id="2" name="Juan Angel" initials="JAP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012B"/>
    <a:srgbClr val="FEA4A4"/>
    <a:srgbClr val="FFC5CF"/>
    <a:srgbClr val="D95130"/>
    <a:srgbClr val="FD1B41"/>
    <a:srgbClr val="F2750E"/>
    <a:srgbClr val="FFCC66"/>
    <a:srgbClr val="FD61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16" autoAdjust="0"/>
    <p:restoredTop sz="91398" autoAdjust="0"/>
  </p:normalViewPr>
  <p:slideViewPr>
    <p:cSldViewPr snapToGrid="0">
      <p:cViewPr varScale="1">
        <p:scale>
          <a:sx n="100" d="100"/>
          <a:sy n="100" d="100"/>
        </p:scale>
        <p:origin x="62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773476" y="0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/>
          <a:lstStyle>
            <a:lvl1pPr algn="r">
              <a:defRPr sz="1200"/>
            </a:lvl1pPr>
          </a:lstStyle>
          <a:p>
            <a:fld id="{3A6DA68D-29F3-405D-A66B-C5EE805DAAC7}" type="datetimeFigureOut">
              <a:rPr lang="es-ES" smtClean="0"/>
              <a:t>27/01/2023</a:t>
            </a:fld>
            <a:endParaRPr lang="es-ES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23813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90" tIns="45345" rIns="90690" bIns="45345" rtlCol="0" anchor="ctr"/>
          <a:lstStyle/>
          <a:p>
            <a:endParaRPr lang="es-ES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66274" y="4715788"/>
            <a:ext cx="5330190" cy="4466670"/>
          </a:xfrm>
          <a:prstGeom prst="rect">
            <a:avLst/>
          </a:prstGeom>
        </p:spPr>
        <p:txBody>
          <a:bodyPr vert="horz" lIns="90690" tIns="45345" rIns="90690" bIns="45345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773476" y="9428402"/>
            <a:ext cx="2887706" cy="496650"/>
          </a:xfrm>
          <a:prstGeom prst="rect">
            <a:avLst/>
          </a:prstGeom>
        </p:spPr>
        <p:txBody>
          <a:bodyPr vert="horz" lIns="90690" tIns="45345" rIns="90690" bIns="45345" rtlCol="0" anchor="b"/>
          <a:lstStyle>
            <a:lvl1pPr algn="r">
              <a:defRPr sz="1200"/>
            </a:lvl1pPr>
          </a:lstStyle>
          <a:p>
            <a:fld id="{4EF79487-DE55-41A7-BECD-2022D20D68E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766196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0" y="514350"/>
            <a:ext cx="4570413" cy="2571750"/>
          </a:xfrm>
          <a:prstGeom prst="rect">
            <a:avLst/>
          </a:prstGeom>
        </p:spPr>
      </p:sp>
      <p:sp>
        <p:nvSpPr>
          <p:cNvPr id="113" name="PlaceHolder 2"/>
          <p:cNvSpPr>
            <a:spLocks noGrp="1"/>
          </p:cNvSpPr>
          <p:nvPr>
            <p:ph type="body"/>
          </p:nvPr>
        </p:nvSpPr>
        <p:spPr>
          <a:xfrm>
            <a:off x="1219320" y="3257640"/>
            <a:ext cx="9752760" cy="308556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s-ES" sz="2000" b="0" strike="noStrike" spc="-1">
              <a:latin typeface="Arial"/>
            </a:endParaRPr>
          </a:p>
        </p:txBody>
      </p:sp>
      <p:sp>
        <p:nvSpPr>
          <p:cNvPr id="114" name="CustomShape 3"/>
          <p:cNvSpPr/>
          <p:nvPr/>
        </p:nvSpPr>
        <p:spPr>
          <a:xfrm>
            <a:off x="6905520" y="6513480"/>
            <a:ext cx="5282640" cy="342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b">
            <a:noAutofit/>
          </a:bodyPr>
          <a:lstStyle/>
          <a:p>
            <a:pPr algn="r">
              <a:lnSpc>
                <a:spcPct val="100000"/>
              </a:lnSpc>
            </a:pPr>
            <a:fld id="{50D7A829-34CF-4059-B157-75C38E73E82C}" type="slidenum">
              <a:rPr lang="es-ES" sz="1200" b="0" strike="noStrike" spc="-1">
                <a:solidFill>
                  <a:srgbClr val="000000"/>
                </a:solidFill>
                <a:latin typeface="+mn-lt"/>
                <a:ea typeface="+mn-ea"/>
              </a:rPr>
              <a:t>1</a:t>
            </a:fld>
            <a:endParaRPr lang="es-ES" sz="1200" b="0" strike="noStrike" spc="-1">
              <a:latin typeface="Arial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381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5920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F79487-DE55-41A7-BECD-2022D20D68E4}" type="slidenum">
              <a:rPr lang="es-ES" smtClean="0"/>
              <a:t>15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8001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924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06106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91188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4986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93095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561992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86673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066658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18462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3679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427979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27948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7145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66502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46814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0161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0490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8026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3553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s-ES_tradnl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_tradnl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7408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3ECE6AC3-D28A-4896-A16D-0A7F397B4403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64768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4751CE-8293-434B-9D33-65A42438DF25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45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61296B-72EF-407C-B3F5-63C2E69DB426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08275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Diapositiva de think-cell" r:id="rId4" imgW="396" imgH="396" progId="TCLayout.ActiveDocument.1">
                  <p:embed/>
                </p:oleObj>
              </mc:Choice>
              <mc:Fallback>
                <p:oleObj name="Diapositiva de think-cell" r:id="rId4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dirty="0"/>
              <a:t>[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r>
              <a:rPr lang="es-ES_tradnl" dirty="0"/>
              <a:t>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609601" y="1325882"/>
            <a:ext cx="109728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slide</a:t>
            </a:r>
            <a:r>
              <a:rPr lang="es-ES_tradnl" dirty="0"/>
              <a:t> </a:t>
            </a:r>
            <a:r>
              <a:rPr lang="es-ES_tradnl" dirty="0" err="1"/>
              <a:t>subtitle</a:t>
            </a:r>
            <a:r>
              <a:rPr lang="es-ES_tradnl" dirty="0"/>
              <a:t>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_tradnl" dirty="0" err="1"/>
              <a:t>Presentation</a:t>
            </a:r>
            <a:r>
              <a:rPr lang="es-ES_tradnl" dirty="0"/>
              <a:t> </a:t>
            </a:r>
            <a:r>
              <a:rPr lang="es-ES_tradnl" dirty="0" err="1"/>
              <a:t>Title</a:t>
            </a:r>
            <a:endParaRPr lang="es-ES_tradnl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048000" y="6355077"/>
            <a:ext cx="6096000" cy="274323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s-ES_tradnl" dirty="0"/>
              <a:t>[</a:t>
            </a:r>
            <a:r>
              <a:rPr lang="es-ES_tradnl" dirty="0" err="1"/>
              <a:t>Optional</a:t>
            </a:r>
            <a:r>
              <a:rPr lang="es-ES_tradnl" dirty="0"/>
              <a:t> </a:t>
            </a:r>
            <a:r>
              <a:rPr lang="es-ES_tradnl" dirty="0" err="1"/>
              <a:t>footnotes</a:t>
            </a:r>
            <a:r>
              <a:rPr lang="es-ES_tradnl" dirty="0"/>
              <a:t>/</a:t>
            </a:r>
            <a:r>
              <a:rPr lang="es-ES_tradnl" dirty="0" err="1"/>
              <a:t>references</a:t>
            </a:r>
            <a:r>
              <a:rPr lang="es-ES_tradnl" dirty="0"/>
              <a:t>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s-ES_tradnl" dirty="0"/>
              <a:t>Date</a:t>
            </a:r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s-ES_tradnl" smtClean="0"/>
              <a:pPr/>
              <a:t>‹Nº›</a:t>
            </a:fld>
            <a:endParaRPr lang="es-ES_tradnl" dirty="0"/>
          </a:p>
        </p:txBody>
      </p:sp>
      <p:sp>
        <p:nvSpPr>
          <p:cNvPr id="12" name="CustomShape 1">
            <a:extLst>
              <a:ext uri="{FF2B5EF4-FFF2-40B4-BE49-F238E27FC236}">
                <a16:creationId xmlns:a16="http://schemas.microsoft.com/office/drawing/2014/main" id="{64782DC6-2501-4B6D-B2AA-0D0C60B9065A}"/>
              </a:ext>
            </a:extLst>
          </p:cNvPr>
          <p:cNvSpPr/>
          <p:nvPr userDrawn="1"/>
        </p:nvSpPr>
        <p:spPr>
          <a:xfrm>
            <a:off x="0" y="0"/>
            <a:ext cx="12192000" cy="663757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46407" y="-17092"/>
            <a:ext cx="1945593" cy="697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532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A1DBB8-33FD-4563-9BDC-D89061323CCC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CustomShape 1">
            <a:extLst>
              <a:ext uri="{FF2B5EF4-FFF2-40B4-BE49-F238E27FC236}">
                <a16:creationId xmlns:a16="http://schemas.microsoft.com/office/drawing/2014/main" id="{64782DC6-2501-4B6D-B2AA-0D0C60B9065A}"/>
              </a:ext>
            </a:extLst>
          </p:cNvPr>
          <p:cNvSpPr/>
          <p:nvPr userDrawn="1"/>
        </p:nvSpPr>
        <p:spPr>
          <a:xfrm>
            <a:off x="0" y="0"/>
            <a:ext cx="12192000" cy="663757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46407" y="-17092"/>
            <a:ext cx="1945593" cy="697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9012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1902F1-D3DF-4529-8835-139F4454D81D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9611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FF0A9C-6F23-43B5-9617-D4E0C4DAB76F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905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18007C-47D5-43C7-9A81-312D9FACDABB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1299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C13B9-1084-4A1A-A960-B60E50B3A38A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287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9D7790-ECC1-4EE8-901A-A4A9AD62BB31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7806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8520544" y="0"/>
            <a:ext cx="3671455" cy="6858000"/>
          </a:xfrm>
          <a:prstGeom prst="rect">
            <a:avLst/>
          </a:prstGeom>
          <a:solidFill>
            <a:srgbClr val="FD1B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73C20A-D76E-458B-9756-C40D8F0B587B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24628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blipFill>
            <a:blip r:embed="rId2"/>
            <a:stretch>
              <a:fillRect/>
            </a:stretch>
          </a:blip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FC4E3663-46A0-4746-99E1-651CA1CA1AF2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5782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8DEA274A-4D75-4F9D-84DE-2CB702F00854}" type="datetime1">
              <a:rPr lang="en-US" smtClean="0"/>
              <a:t>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6536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6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6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5.xml"/><Relationship Id="rId7" Type="http://schemas.openxmlformats.org/officeDocument/2006/relationships/image" Target="../media/image3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2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7.xml"/><Relationship Id="rId7" Type="http://schemas.openxmlformats.org/officeDocument/2006/relationships/image" Target="../media/image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9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10.xml"/><Relationship Id="rId10" Type="http://schemas.openxmlformats.org/officeDocument/2006/relationships/image" Target="../media/image29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.xml"/><Relationship Id="rId7" Type="http://schemas.openxmlformats.org/officeDocument/2006/relationships/image" Target="../media/image3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emf"/><Relationship Id="rId3" Type="http://schemas.openxmlformats.org/officeDocument/2006/relationships/image" Target="../media/image31.emf"/><Relationship Id="rId7" Type="http://schemas.openxmlformats.org/officeDocument/2006/relationships/image" Target="../media/image8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emf"/><Relationship Id="rId5" Type="http://schemas.openxmlformats.org/officeDocument/2006/relationships/image" Target="../media/image17.emf"/><Relationship Id="rId4" Type="http://schemas.openxmlformats.org/officeDocument/2006/relationships/image" Target="../media/image32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13" Type="http://schemas.openxmlformats.org/officeDocument/2006/relationships/image" Target="../media/image36.png"/><Relationship Id="rId3" Type="http://schemas.openxmlformats.org/officeDocument/2006/relationships/tags" Target="../tags/tag23.xml"/><Relationship Id="rId7" Type="http://schemas.openxmlformats.org/officeDocument/2006/relationships/notesSlide" Target="../notesSlides/notesSlide13.xml"/><Relationship Id="rId12" Type="http://schemas.microsoft.com/office/2007/relationships/hdphoto" Target="../media/hdphoto1.wdp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35.png"/><Relationship Id="rId5" Type="http://schemas.openxmlformats.org/officeDocument/2006/relationships/video" Target="../media/media1.mp4"/><Relationship Id="rId15" Type="http://schemas.openxmlformats.org/officeDocument/2006/relationships/image" Target="../media/image38.png"/><Relationship Id="rId10" Type="http://schemas.openxmlformats.org/officeDocument/2006/relationships/image" Target="../media/image8.emf"/><Relationship Id="rId4" Type="http://schemas.microsoft.com/office/2007/relationships/media" Target="../media/media1.mp4"/><Relationship Id="rId9" Type="http://schemas.openxmlformats.org/officeDocument/2006/relationships/image" Target="../media/image3.emf"/><Relationship Id="rId14" Type="http://schemas.openxmlformats.org/officeDocument/2006/relationships/image" Target="../media/image37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5.xml"/><Relationship Id="rId7" Type="http://schemas.openxmlformats.org/officeDocument/2006/relationships/image" Target="../media/image3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41.png"/><Relationship Id="rId5" Type="http://schemas.openxmlformats.org/officeDocument/2006/relationships/notesSlide" Target="../notesSlides/notesSlide14.xml"/><Relationship Id="rId10" Type="http://schemas.openxmlformats.org/officeDocument/2006/relationships/image" Target="../media/image4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46.png"/><Relationship Id="rId3" Type="http://schemas.openxmlformats.org/officeDocument/2006/relationships/tags" Target="../tags/tag27.xml"/><Relationship Id="rId7" Type="http://schemas.openxmlformats.org/officeDocument/2006/relationships/image" Target="../media/image3.emf"/><Relationship Id="rId12" Type="http://schemas.openxmlformats.org/officeDocument/2006/relationships/image" Target="../media/image45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44.png"/><Relationship Id="rId5" Type="http://schemas.openxmlformats.org/officeDocument/2006/relationships/notesSlide" Target="../notesSlides/notesSlide15.xml"/><Relationship Id="rId10" Type="http://schemas.openxmlformats.org/officeDocument/2006/relationships/image" Target="../media/image43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2.png"/><Relationship Id="rId14" Type="http://schemas.openxmlformats.org/officeDocument/2006/relationships/image" Target="../media/image41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9.xml"/><Relationship Id="rId7" Type="http://schemas.openxmlformats.org/officeDocument/2006/relationships/image" Target="../media/image3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49.png"/><Relationship Id="rId5" Type="http://schemas.openxmlformats.org/officeDocument/2006/relationships/notesSlide" Target="../notesSlides/notesSlide16.xml"/><Relationship Id="rId10" Type="http://schemas.openxmlformats.org/officeDocument/2006/relationships/image" Target="../media/image48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1.xml"/><Relationship Id="rId7" Type="http://schemas.openxmlformats.org/officeDocument/2006/relationships/image" Target="../media/image3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7.xml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3.xml"/><Relationship Id="rId7" Type="http://schemas.openxmlformats.org/officeDocument/2006/relationships/image" Target="../media/image3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8.xml"/><Relationship Id="rId10" Type="http://schemas.microsoft.com/office/2007/relationships/hdphoto" Target="../media/hdphoto2.wdp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2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5.xml"/><Relationship Id="rId7" Type="http://schemas.openxmlformats.org/officeDocument/2006/relationships/image" Target="../media/image3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9.xml"/><Relationship Id="rId10" Type="http://schemas.openxmlformats.org/officeDocument/2006/relationships/image" Target="../media/image54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3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6.png"/><Relationship Id="rId4" Type="http://schemas.openxmlformats.org/officeDocument/2006/relationships/hyperlink" Target="https://vimeo.com/512493128/2805ba77e6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7.xml"/><Relationship Id="rId7" Type="http://schemas.openxmlformats.org/officeDocument/2006/relationships/image" Target="../media/image3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7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9.xml"/><Relationship Id="rId7" Type="http://schemas.openxmlformats.org/officeDocument/2006/relationships/image" Target="../media/image3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1.xml"/><Relationship Id="rId7" Type="http://schemas.openxmlformats.org/officeDocument/2006/relationships/image" Target="../media/image3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59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3.xml"/><Relationship Id="rId7" Type="http://schemas.openxmlformats.org/officeDocument/2006/relationships/image" Target="../media/image3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5.xml"/><Relationship Id="rId7" Type="http://schemas.openxmlformats.org/officeDocument/2006/relationships/image" Target="../media/image3.emf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1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0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image" Target="../media/image14.emf"/><Relationship Id="rId9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7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CustomShape 1"/>
          <p:cNvSpPr/>
          <p:nvPr/>
        </p:nvSpPr>
        <p:spPr>
          <a:xfrm>
            <a:off x="407520" y="3203521"/>
            <a:ext cx="3244320" cy="142337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12480" rIns="0" bIns="0">
            <a:spAutoFit/>
          </a:bodyPr>
          <a:lstStyle/>
          <a:p>
            <a:pPr marL="12480">
              <a:spcBef>
                <a:spcPts val="99"/>
              </a:spcBef>
            </a:pPr>
            <a:endParaRPr lang="es-ES" sz="2400" spc="-1">
              <a:latin typeface="Arial"/>
            </a:endParaRPr>
          </a:p>
          <a:p>
            <a:pPr marL="12480">
              <a:lnSpc>
                <a:spcPts val="2373"/>
              </a:lnSpc>
              <a:spcBef>
                <a:spcPts val="2933"/>
              </a:spcBef>
            </a:pPr>
            <a:r>
              <a:rPr lang="es-ES" sz="2000" b="1" spc="-1">
                <a:solidFill>
                  <a:srgbClr val="8E1535"/>
                </a:solidFill>
                <a:latin typeface="Arial"/>
                <a:ea typeface="DejaVu Sans"/>
              </a:rPr>
              <a:t>Colaboran:</a:t>
            </a:r>
            <a:endParaRPr lang="es-ES" sz="2000" spc="-1">
              <a:latin typeface="Arial"/>
            </a:endParaRPr>
          </a:p>
          <a:p>
            <a:pPr marL="12480">
              <a:lnSpc>
                <a:spcPts val="2880"/>
              </a:lnSpc>
              <a:spcBef>
                <a:spcPts val="72"/>
              </a:spcBef>
            </a:pPr>
            <a:r>
              <a:rPr lang="es-ES" sz="2400" spc="80">
                <a:solidFill>
                  <a:srgbClr val="A6A6A6"/>
                </a:solidFill>
                <a:latin typeface="Arial"/>
                <a:ea typeface="DejaVu Sans"/>
              </a:rPr>
              <a:t>Universidad de </a:t>
            </a:r>
            <a:r>
              <a:rPr lang="es-ES" sz="2400" spc="20">
                <a:solidFill>
                  <a:srgbClr val="A6A6A6"/>
                </a:solidFill>
                <a:latin typeface="Arial"/>
                <a:ea typeface="DejaVu Sans"/>
              </a:rPr>
              <a:t>Sevilla  </a:t>
            </a:r>
            <a:endParaRPr lang="es-ES" sz="2400" spc="-1">
              <a:latin typeface="Arial"/>
            </a:endParaRPr>
          </a:p>
        </p:txBody>
      </p:sp>
      <p:sp>
        <p:nvSpPr>
          <p:cNvPr id="85" name="CustomShape 2"/>
          <p:cNvSpPr/>
          <p:nvPr/>
        </p:nvSpPr>
        <p:spPr>
          <a:xfrm>
            <a:off x="10151520" y="4800480"/>
            <a:ext cx="1827840" cy="1827840"/>
          </a:xfrm>
          <a:prstGeom prst="rect">
            <a:avLst/>
          </a:prstGeom>
          <a:blipFill rotWithShape="0">
            <a:blip r:embed="rId3"/>
            <a:stretch>
              <a:fillRect/>
            </a:stretch>
          </a:blip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6" name="CustomShape 3"/>
          <p:cNvSpPr/>
          <p:nvPr/>
        </p:nvSpPr>
        <p:spPr>
          <a:xfrm>
            <a:off x="317760" y="1840800"/>
            <a:ext cx="5819040" cy="138475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FFFFFF"/>
                </a:solidFill>
                <a:latin typeface="Lucida Sans"/>
                <a:ea typeface="DejaVu Sans"/>
              </a:rPr>
              <a:t>01 de Abril</a:t>
            </a:r>
            <a:endParaRPr lang="es-ES" sz="2800" spc="-1">
              <a:latin typeface="Arial"/>
            </a:endParaRPr>
          </a:p>
          <a:p>
            <a:pPr>
              <a:lnSpc>
                <a:spcPct val="100000"/>
              </a:lnSpc>
            </a:pPr>
            <a:r>
              <a:rPr lang="es-ES" sz="2800" b="1" spc="-1">
                <a:solidFill>
                  <a:srgbClr val="BC1E46"/>
                </a:solidFill>
                <a:latin typeface="Lucida Sans"/>
                <a:ea typeface="DejaVu Sans"/>
              </a:rPr>
              <a:t>X Jornada de la Comunidad Valenciana</a:t>
            </a:r>
            <a:endParaRPr lang="es-ES" sz="2800" spc="-1">
              <a:latin typeface="Arial"/>
            </a:endParaRPr>
          </a:p>
        </p:txBody>
      </p:sp>
      <p:pic>
        <p:nvPicPr>
          <p:cNvPr id="87" name="13 Imagen" descr="imagen Jornada CValenciana.jpg"/>
          <p:cNvPicPr/>
          <p:nvPr/>
        </p:nvPicPr>
        <p:blipFill>
          <a:blip r:embed="rId4"/>
          <a:srcRect l="35688" t="9553" b="4467"/>
          <a:stretch/>
        </p:blipFill>
        <p:spPr>
          <a:xfrm>
            <a:off x="6019680" y="0"/>
            <a:ext cx="6171360" cy="7085760"/>
          </a:xfrm>
          <a:prstGeom prst="rect">
            <a:avLst/>
          </a:prstGeom>
          <a:ln>
            <a:noFill/>
          </a:ln>
        </p:spPr>
      </p:pic>
      <p:pic>
        <p:nvPicPr>
          <p:cNvPr id="88" name="8 Imagen" descr="Logo itSMF Esp-Definitivo.jpg"/>
          <p:cNvPicPr/>
          <p:nvPr/>
        </p:nvPicPr>
        <p:blipFill>
          <a:blip r:embed="rId5"/>
          <a:stretch/>
        </p:blipFill>
        <p:spPr>
          <a:xfrm>
            <a:off x="152640" y="228480"/>
            <a:ext cx="1446720" cy="624480"/>
          </a:xfrm>
          <a:prstGeom prst="rect">
            <a:avLst/>
          </a:prstGeom>
          <a:ln>
            <a:noFill/>
          </a:ln>
        </p:spPr>
      </p:pic>
      <p:grpSp>
        <p:nvGrpSpPr>
          <p:cNvPr id="89" name="Group 4"/>
          <p:cNvGrpSpPr/>
          <p:nvPr/>
        </p:nvGrpSpPr>
        <p:grpSpPr>
          <a:xfrm>
            <a:off x="0" y="0"/>
            <a:ext cx="7466400" cy="7085760"/>
            <a:chOff x="0" y="0"/>
            <a:chExt cx="5599800" cy="5314320"/>
          </a:xfrm>
        </p:grpSpPr>
        <p:sp>
          <p:nvSpPr>
            <p:cNvPr id="90" name="CustomShape 5"/>
            <p:cNvSpPr/>
            <p:nvPr/>
          </p:nvSpPr>
          <p:spPr>
            <a:xfrm>
              <a:off x="0" y="0"/>
              <a:ext cx="5502600" cy="5314320"/>
            </a:xfrm>
            <a:custGeom>
              <a:avLst/>
              <a:gdLst/>
              <a:ahLst/>
              <a:cxnLst/>
              <a:rect l="l" t="t" r="r" b="b"/>
              <a:pathLst>
                <a:path w="6455410" h="6858000">
                  <a:moveTo>
                    <a:pt x="6455156" y="0"/>
                  </a:moveTo>
                  <a:lnTo>
                    <a:pt x="0" y="0"/>
                  </a:lnTo>
                  <a:lnTo>
                    <a:pt x="0" y="6857999"/>
                  </a:lnTo>
                  <a:lnTo>
                    <a:pt x="5164201" y="6857999"/>
                  </a:lnTo>
                  <a:lnTo>
                    <a:pt x="6455156" y="0"/>
                  </a:lnTo>
                  <a:close/>
                </a:path>
              </a:pathLst>
            </a:custGeom>
            <a:solidFill>
              <a:srgbClr val="222327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0" tIns="0" rIns="0" bIns="0">
              <a:noAutofit/>
            </a:bodyPr>
            <a:lstStyle/>
            <a:p>
              <a:pPr>
                <a:lnSpc>
                  <a:spcPct val="100000"/>
                </a:lnSpc>
              </a:pPr>
              <a:r>
                <a:rPr lang="es-ES" sz="1867" spc="-1">
                  <a:solidFill>
                    <a:srgbClr val="000000"/>
                  </a:solidFill>
                  <a:latin typeface="Calibri"/>
                  <a:ea typeface="DejaVu Sans"/>
                </a:rPr>
                <a:t>0</a:t>
              </a:r>
              <a:endParaRPr lang="es-ES" sz="1867" spc="-1">
                <a:latin typeface="Arial"/>
              </a:endParaRPr>
            </a:p>
          </p:txBody>
        </p:sp>
        <p:sp>
          <p:nvSpPr>
            <p:cNvPr id="91" name="CustomShape 6"/>
            <p:cNvSpPr/>
            <p:nvPr/>
          </p:nvSpPr>
          <p:spPr>
            <a:xfrm>
              <a:off x="4384800" y="0"/>
              <a:ext cx="1215000" cy="5314320"/>
            </a:xfrm>
            <a:custGeom>
              <a:avLst/>
              <a:gdLst/>
              <a:ahLst/>
              <a:cxnLst/>
              <a:rect l="l" t="t" r="r" b="b"/>
              <a:pathLst>
                <a:path w="1426209" h="6858000">
                  <a:moveTo>
                    <a:pt x="1425828" y="0"/>
                  </a:moveTo>
                  <a:lnTo>
                    <a:pt x="1288796" y="0"/>
                  </a:lnTo>
                  <a:lnTo>
                    <a:pt x="0" y="6857999"/>
                  </a:lnTo>
                  <a:lnTo>
                    <a:pt x="137033" y="6857999"/>
                  </a:lnTo>
                  <a:lnTo>
                    <a:pt x="1425828" y="0"/>
                  </a:lnTo>
                  <a:close/>
                </a:path>
              </a:pathLst>
            </a:custGeom>
            <a:solidFill>
              <a:srgbClr val="BC1E4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</p:sp>
      </p:grpSp>
      <p:sp>
        <p:nvSpPr>
          <p:cNvPr id="94" name="CustomShape 9"/>
          <p:cNvSpPr/>
          <p:nvPr/>
        </p:nvSpPr>
        <p:spPr>
          <a:xfrm>
            <a:off x="75510" y="959820"/>
            <a:ext cx="6502140" cy="84636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680" tIns="45600" rIns="91680" bIns="4560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s-ES" sz="4400" b="1" spc="-1" dirty="0">
                <a:solidFill>
                  <a:srgbClr val="FFFFFF"/>
                </a:solidFill>
                <a:latin typeface="Lucida Sans"/>
                <a:ea typeface="DejaVu Sans"/>
              </a:rPr>
              <a:t>NEXT GENERATION FINANCIACIÓN PÚBLICA PARA EMPRESAS INNOVADORAS</a:t>
            </a:r>
          </a:p>
          <a:p>
            <a:pPr algn="ctr">
              <a:lnSpc>
                <a:spcPct val="100000"/>
              </a:lnSpc>
            </a:pPr>
            <a:endParaRPr lang="es-ES" sz="44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 algn="ctr">
              <a:lnSpc>
                <a:spcPct val="100000"/>
              </a:lnSpc>
            </a:pPr>
            <a:r>
              <a:rPr lang="es-ES" sz="4400" b="1" spc="-1" dirty="0">
                <a:solidFill>
                  <a:srgbClr val="FFFFFF"/>
                </a:solidFill>
                <a:latin typeface="Lucida Sans"/>
                <a:ea typeface="DejaVu Sans"/>
              </a:rPr>
              <a:t>Juan Angel Poyatos</a:t>
            </a:r>
          </a:p>
          <a:p>
            <a:pPr>
              <a:lnSpc>
                <a:spcPct val="100000"/>
              </a:lnSpc>
            </a:pPr>
            <a:endParaRPr lang="es-ES" sz="44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44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36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36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3600" b="1" spc="-1" dirty="0">
              <a:solidFill>
                <a:srgbClr val="FFFFFF"/>
              </a:solidFill>
              <a:latin typeface="Lucida Sans"/>
              <a:ea typeface="DejaVu Sans"/>
            </a:endParaRPr>
          </a:p>
          <a:p>
            <a:pPr>
              <a:lnSpc>
                <a:spcPct val="100000"/>
              </a:lnSpc>
            </a:pPr>
            <a:endParaRPr lang="es-ES" sz="4000" b="1" spc="-1" dirty="0">
              <a:solidFill>
                <a:srgbClr val="FFFFFF"/>
              </a:solidFill>
              <a:latin typeface="Lucida Sans"/>
              <a:ea typeface="DejaVu Sans"/>
            </a:endParaRPr>
          </a:p>
        </p:txBody>
      </p:sp>
      <p:pic>
        <p:nvPicPr>
          <p:cNvPr id="17" name="Imagen 16" descr="Logotipo&#10;&#10;Descripción generada automáticamente">
            <a:extLst>
              <a:ext uri="{FF2B5EF4-FFF2-40B4-BE49-F238E27FC236}">
                <a16:creationId xmlns:a16="http://schemas.microsoft.com/office/drawing/2014/main" id="{ECBE37AD-C9E7-4C2C-B79C-FF186E50D70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1599" t="37051" r="24668" b="32533"/>
          <a:stretch/>
        </p:blipFill>
        <p:spPr>
          <a:xfrm>
            <a:off x="7618958" y="4877488"/>
            <a:ext cx="4497532" cy="18000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7FC34F4-E629-D54E-03BC-FBB1206E3DE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830032"/>
            <a:ext cx="12192000" cy="5254465"/>
          </a:xfrm>
          <a:prstGeom prst="rect">
            <a:avLst/>
          </a:prstGeom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DD856587-D038-4FF3-B5CC-10B16CDD5CA6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SPLIEGUE DEL PLAN</a:t>
            </a:r>
          </a:p>
        </p:txBody>
      </p:sp>
    </p:spTree>
    <p:extLst>
      <p:ext uri="{BB962C8B-B14F-4D97-AF65-F5344CB8AC3E}">
        <p14:creationId xmlns:p14="http://schemas.microsoft.com/office/powerpoint/2010/main" val="36918736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NCIPALES REFORMAS</a:t>
            </a:r>
          </a:p>
        </p:txBody>
      </p:sp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F53CA647-43D7-B948-E71E-09B1359C495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1" y="754089"/>
            <a:ext cx="12192000" cy="6052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9749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DD856587-D038-4FF3-B5CC-10B16CDD5CA6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SPLIEGUE DEL PLAN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8073D2F5-74AA-47FE-B8B0-E073E74EE1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5312" y="719137"/>
            <a:ext cx="11001375" cy="5419725"/>
          </a:xfrm>
          <a:prstGeom prst="rect">
            <a:avLst/>
          </a:prstGeom>
        </p:spPr>
      </p:pic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28178A6E-888A-4ECF-B839-2F6982B501FA}"/>
              </a:ext>
            </a:extLst>
          </p:cNvPr>
          <p:cNvCxnSpPr/>
          <p:nvPr/>
        </p:nvCxnSpPr>
        <p:spPr>
          <a:xfrm flipV="1">
            <a:off x="727539" y="5431316"/>
            <a:ext cx="2248766" cy="11660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74668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1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Imagen 9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71B69797-7011-44A9-88BC-59FEA9AD18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0" y="1"/>
            <a:ext cx="2094689" cy="754088"/>
          </a:xfrm>
          <a:prstGeom prst="rect">
            <a:avLst/>
          </a:prstGeom>
        </p:spPr>
      </p:pic>
      <p:sp>
        <p:nvSpPr>
          <p:cNvPr id="11" name="1 Título">
            <a:extLst>
              <a:ext uri="{FF2B5EF4-FFF2-40B4-BE49-F238E27FC236}">
                <a16:creationId xmlns:a16="http://schemas.microsoft.com/office/drawing/2014/main" id="{DD856587-D038-4FF3-B5CC-10B16CDD5CA6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SPLIEGUE DEL PLA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9E837ACA-0A93-426C-9B36-DCF75D9AB51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5312" y="1000125"/>
            <a:ext cx="11001375" cy="4857750"/>
          </a:xfrm>
          <a:prstGeom prst="rect">
            <a:avLst/>
          </a:prstGeom>
        </p:spPr>
      </p:pic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28178A6E-888A-4ECF-B839-2F6982B501FA}"/>
              </a:ext>
            </a:extLst>
          </p:cNvPr>
          <p:cNvCxnSpPr>
            <a:cxnSpLocks/>
          </p:cNvCxnSpPr>
          <p:nvPr/>
        </p:nvCxnSpPr>
        <p:spPr>
          <a:xfrm flipV="1">
            <a:off x="727539" y="5284126"/>
            <a:ext cx="2213965" cy="131322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35194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>
            <a:extLst>
              <a:ext uri="{FF2B5EF4-FFF2-40B4-BE49-F238E27FC236}">
                <a16:creationId xmlns:a16="http://schemas.microsoft.com/office/drawing/2014/main" id="{8A781DBB-8A32-49BD-A6A9-927816E949C0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YUDAS ACTUALMENTE ABIERTAS CON CARGO AL MR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1C6BBFFD-E79C-4F77-B850-F573531F2BD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3339" y="1304412"/>
            <a:ext cx="11468100" cy="5191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9648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29 Rectángulo redondeado">
            <a:extLst>
              <a:ext uri="{FF2B5EF4-FFF2-40B4-BE49-F238E27FC236}">
                <a16:creationId xmlns:a16="http://schemas.microsoft.com/office/drawing/2014/main" id="{33F24E3E-19BD-5965-5234-6074DBBE2BFC}"/>
              </a:ext>
            </a:extLst>
          </p:cNvPr>
          <p:cNvSpPr/>
          <p:nvPr/>
        </p:nvSpPr>
        <p:spPr>
          <a:xfrm>
            <a:off x="3828566" y="5600408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" name="1 Rectángulo redondeado"/>
          <p:cNvSpPr/>
          <p:nvPr/>
        </p:nvSpPr>
        <p:spPr>
          <a:xfrm>
            <a:off x="4244789" y="1508787"/>
            <a:ext cx="4128459" cy="125412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9" name="28 Rectángulo redondeado"/>
          <p:cNvSpPr/>
          <p:nvPr/>
        </p:nvSpPr>
        <p:spPr>
          <a:xfrm>
            <a:off x="4059151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0" name="29 Rectángulo redondeado"/>
          <p:cNvSpPr/>
          <p:nvPr/>
        </p:nvSpPr>
        <p:spPr>
          <a:xfrm>
            <a:off x="7272251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719403" y="3909053"/>
            <a:ext cx="2108167" cy="95097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4436811" y="1564348"/>
            <a:ext cx="358822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icina Valenciana para la Recuperación</a:t>
            </a:r>
          </a:p>
        </p:txBody>
      </p:sp>
      <p:sp>
        <p:nvSpPr>
          <p:cNvPr id="22" name="1 Título"/>
          <p:cNvSpPr txBox="1">
            <a:spLocks/>
          </p:cNvSpPr>
          <p:nvPr/>
        </p:nvSpPr>
        <p:spPr>
          <a:xfrm>
            <a:off x="815414" y="3822171"/>
            <a:ext cx="1875068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Gestión Interna Generalitat</a:t>
            </a:r>
          </a:p>
        </p:txBody>
      </p:sp>
      <p:pic>
        <p:nvPicPr>
          <p:cNvPr id="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194" y="2135849"/>
            <a:ext cx="402617" cy="7928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1 Título"/>
          <p:cNvSpPr txBox="1">
            <a:spLocks/>
          </p:cNvSpPr>
          <p:nvPr/>
        </p:nvSpPr>
        <p:spPr>
          <a:xfrm>
            <a:off x="4059151" y="3822171"/>
            <a:ext cx="2108167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yo a Empresas</a:t>
            </a:r>
          </a:p>
          <a:p>
            <a:pPr>
              <a:buClr>
                <a:schemeClr val="tx1"/>
              </a:buClr>
            </a:pPr>
            <a:endParaRPr lang="es-ES" sz="1600" b="1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7" name="1 Título"/>
          <p:cNvSpPr txBox="1">
            <a:spLocks/>
          </p:cNvSpPr>
          <p:nvPr/>
        </p:nvSpPr>
        <p:spPr>
          <a:xfrm>
            <a:off x="7288106" y="3882314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poyo a entidades locales 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512" y="2852937"/>
            <a:ext cx="2954867" cy="9757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6093" y="2852937"/>
            <a:ext cx="1380067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5649" y="2863954"/>
            <a:ext cx="1365249" cy="10350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5" name="1 Título">
            <a:extLst>
              <a:ext uri="{FF2B5EF4-FFF2-40B4-BE49-F238E27FC236}">
                <a16:creationId xmlns:a16="http://schemas.microsoft.com/office/drawing/2014/main" id="{45228A94-7F9D-4A1F-8401-5DE104E7F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3918" y="-21027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OL DE LA OFICINA VALENCIANA PARA LA RECUPERACIÓN</a:t>
            </a:r>
          </a:p>
        </p:txBody>
      </p:sp>
      <p:pic>
        <p:nvPicPr>
          <p:cNvPr id="37" name="Picture 2">
            <a:extLst>
              <a:ext uri="{FF2B5EF4-FFF2-40B4-BE49-F238E27FC236}">
                <a16:creationId xmlns:a16="http://schemas.microsoft.com/office/drawing/2014/main" id="{BB2566EE-FA82-4EB9-B479-E3EC4631A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29 Rectángulo redondeado">
            <a:extLst>
              <a:ext uri="{FF2B5EF4-FFF2-40B4-BE49-F238E27FC236}">
                <a16:creationId xmlns:a16="http://schemas.microsoft.com/office/drawing/2014/main" id="{D9E04DF6-0BE5-46B5-84D2-DCA44AC05838}"/>
              </a:ext>
            </a:extLst>
          </p:cNvPr>
          <p:cNvSpPr/>
          <p:nvPr/>
        </p:nvSpPr>
        <p:spPr>
          <a:xfrm>
            <a:off x="10040905" y="2529303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1" name="1 Título">
            <a:extLst>
              <a:ext uri="{FF2B5EF4-FFF2-40B4-BE49-F238E27FC236}">
                <a16:creationId xmlns:a16="http://schemas.microsoft.com/office/drawing/2014/main" id="{2A3F2D3E-9DF5-47F4-A223-7F76FB6A36D3}"/>
              </a:ext>
            </a:extLst>
          </p:cNvPr>
          <p:cNvSpPr txBox="1">
            <a:spLocks/>
          </p:cNvSpPr>
          <p:nvPr/>
        </p:nvSpPr>
        <p:spPr>
          <a:xfrm>
            <a:off x="9729229" y="2416767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orm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4" name="29 Rectángulo redondeado">
            <a:extLst>
              <a:ext uri="{FF2B5EF4-FFF2-40B4-BE49-F238E27FC236}">
                <a16:creationId xmlns:a16="http://schemas.microsoft.com/office/drawing/2014/main" id="{447798E1-48FD-47CB-B046-5ECF30EB1B7A}"/>
              </a:ext>
            </a:extLst>
          </p:cNvPr>
          <p:cNvSpPr/>
          <p:nvPr/>
        </p:nvSpPr>
        <p:spPr>
          <a:xfrm>
            <a:off x="10523663" y="3634730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25" name="1 Título">
            <a:extLst>
              <a:ext uri="{FF2B5EF4-FFF2-40B4-BE49-F238E27FC236}">
                <a16:creationId xmlns:a16="http://schemas.microsoft.com/office/drawing/2014/main" id="{B15BDB9A-22BC-4D8F-81F3-079F7C5C0B48}"/>
              </a:ext>
            </a:extLst>
          </p:cNvPr>
          <p:cNvSpPr txBox="1">
            <a:spLocks/>
          </p:cNvSpPr>
          <p:nvPr/>
        </p:nvSpPr>
        <p:spPr>
          <a:xfrm>
            <a:off x="10173602" y="3478544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Coordin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2" name="29 Rectángulo redondeado">
            <a:extLst>
              <a:ext uri="{FF2B5EF4-FFF2-40B4-BE49-F238E27FC236}">
                <a16:creationId xmlns:a16="http://schemas.microsoft.com/office/drawing/2014/main" id="{EFD4C5A7-13EB-4C04-969E-BE4BC921B073}"/>
              </a:ext>
            </a:extLst>
          </p:cNvPr>
          <p:cNvSpPr/>
          <p:nvPr/>
        </p:nvSpPr>
        <p:spPr>
          <a:xfrm>
            <a:off x="8808566" y="561222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3" name="1 Título">
            <a:extLst>
              <a:ext uri="{FF2B5EF4-FFF2-40B4-BE49-F238E27FC236}">
                <a16:creationId xmlns:a16="http://schemas.microsoft.com/office/drawing/2014/main" id="{A3E366FD-8CE5-484F-B7DF-0B5BC2673316}"/>
              </a:ext>
            </a:extLst>
          </p:cNvPr>
          <p:cNvSpPr txBox="1">
            <a:spLocks/>
          </p:cNvSpPr>
          <p:nvPr/>
        </p:nvSpPr>
        <p:spPr>
          <a:xfrm>
            <a:off x="8467740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terlocu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29 Rectángulo redondeado">
            <a:extLst>
              <a:ext uri="{FF2B5EF4-FFF2-40B4-BE49-F238E27FC236}">
                <a16:creationId xmlns:a16="http://schemas.microsoft.com/office/drawing/2014/main" id="{D8FE47F4-51F4-4898-9D8E-4FDBED4DD865}"/>
              </a:ext>
            </a:extLst>
          </p:cNvPr>
          <p:cNvSpPr/>
          <p:nvPr/>
        </p:nvSpPr>
        <p:spPr>
          <a:xfrm>
            <a:off x="10585166" y="5566042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8" name="1 Título">
            <a:extLst>
              <a:ext uri="{FF2B5EF4-FFF2-40B4-BE49-F238E27FC236}">
                <a16:creationId xmlns:a16="http://schemas.microsoft.com/office/drawing/2014/main" id="{AE6AE13C-0A09-49DF-A515-B26A4115B8F0}"/>
              </a:ext>
            </a:extLst>
          </p:cNvPr>
          <p:cNvSpPr txBox="1">
            <a:spLocks/>
          </p:cNvSpPr>
          <p:nvPr/>
        </p:nvSpPr>
        <p:spPr>
          <a:xfrm>
            <a:off x="10291293" y="5456036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royectos conjunto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39" name="Picture 2">
            <a:extLst>
              <a:ext uri="{FF2B5EF4-FFF2-40B4-BE49-F238E27FC236}">
                <a16:creationId xmlns:a16="http://schemas.microsoft.com/office/drawing/2014/main" id="{3F0D95A7-6037-4D6F-A5DB-33C1893F03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469" y="3236133"/>
            <a:ext cx="1885040" cy="622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>
            <a:extLst>
              <a:ext uri="{FF2B5EF4-FFF2-40B4-BE49-F238E27FC236}">
                <a16:creationId xmlns:a16="http://schemas.microsoft.com/office/drawing/2014/main" id="{ECE1ABA9-0FF7-43D4-B73A-F40CFE6207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490" y="3987742"/>
            <a:ext cx="928338" cy="6962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" name="Picture 4">
            <a:extLst>
              <a:ext uri="{FF2B5EF4-FFF2-40B4-BE49-F238E27FC236}">
                <a16:creationId xmlns:a16="http://schemas.microsoft.com/office/drawing/2014/main" id="{13CEB747-3522-4879-8FD9-AF03C3B481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1662" y="4907404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2" name="Picture 5">
            <a:extLst>
              <a:ext uri="{FF2B5EF4-FFF2-40B4-BE49-F238E27FC236}">
                <a16:creationId xmlns:a16="http://schemas.microsoft.com/office/drawing/2014/main" id="{F046CCC3-93C4-4EF3-B695-1A98894EF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86777" y="4899356"/>
            <a:ext cx="1850544" cy="6472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29 Rectángulo redondeado">
            <a:extLst>
              <a:ext uri="{FF2B5EF4-FFF2-40B4-BE49-F238E27FC236}">
                <a16:creationId xmlns:a16="http://schemas.microsoft.com/office/drawing/2014/main" id="{ED5431D3-4511-ABBF-D8D0-ED46A6AC6A44}"/>
              </a:ext>
            </a:extLst>
          </p:cNvPr>
          <p:cNvSpPr/>
          <p:nvPr/>
        </p:nvSpPr>
        <p:spPr>
          <a:xfrm>
            <a:off x="5855816" y="5602697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52" name="1 Título">
            <a:extLst>
              <a:ext uri="{FF2B5EF4-FFF2-40B4-BE49-F238E27FC236}">
                <a16:creationId xmlns:a16="http://schemas.microsoft.com/office/drawing/2014/main" id="{AB7B8988-0BF0-6CA9-47EC-D0D3B81800AE}"/>
              </a:ext>
            </a:extLst>
          </p:cNvPr>
          <p:cNvSpPr txBox="1">
            <a:spLocks/>
          </p:cNvSpPr>
          <p:nvPr/>
        </p:nvSpPr>
        <p:spPr>
          <a:xfrm>
            <a:off x="5514990" y="5446511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YM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3" name="Picture 4">
            <a:extLst>
              <a:ext uri="{FF2B5EF4-FFF2-40B4-BE49-F238E27FC236}">
                <a16:creationId xmlns:a16="http://schemas.microsoft.com/office/drawing/2014/main" id="{4FF39D3E-1720-274A-246A-82294BEBBD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961" y="4899356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4" name="1 Título">
            <a:extLst>
              <a:ext uri="{FF2B5EF4-FFF2-40B4-BE49-F238E27FC236}">
                <a16:creationId xmlns:a16="http://schemas.microsoft.com/office/drawing/2014/main" id="{1B8D11EC-1A3C-2707-ED10-0AA76312842B}"/>
              </a:ext>
            </a:extLst>
          </p:cNvPr>
          <p:cNvSpPr txBox="1">
            <a:spLocks/>
          </p:cNvSpPr>
          <p:nvPr/>
        </p:nvSpPr>
        <p:spPr>
          <a:xfrm>
            <a:off x="3442863" y="5452931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ERT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3" name="29 Rectángulo redondeado">
            <a:extLst>
              <a:ext uri="{FF2B5EF4-FFF2-40B4-BE49-F238E27FC236}">
                <a16:creationId xmlns:a16="http://schemas.microsoft.com/office/drawing/2014/main" id="{A24C7292-B140-44E5-90F7-B4C15F105874}"/>
              </a:ext>
            </a:extLst>
          </p:cNvPr>
          <p:cNvSpPr/>
          <p:nvPr/>
        </p:nvSpPr>
        <p:spPr>
          <a:xfrm>
            <a:off x="79534" y="5546625"/>
            <a:ext cx="1380067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4" name="29 Rectángulo redondeado">
            <a:extLst>
              <a:ext uri="{FF2B5EF4-FFF2-40B4-BE49-F238E27FC236}">
                <a16:creationId xmlns:a16="http://schemas.microsoft.com/office/drawing/2014/main" id="{A8C9B084-8F47-4762-A015-BAB79D0B139B}"/>
              </a:ext>
            </a:extLst>
          </p:cNvPr>
          <p:cNvSpPr/>
          <p:nvPr/>
        </p:nvSpPr>
        <p:spPr>
          <a:xfrm>
            <a:off x="2016793" y="5608684"/>
            <a:ext cx="1580188" cy="647268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5" name="1 Título">
            <a:extLst>
              <a:ext uri="{FF2B5EF4-FFF2-40B4-BE49-F238E27FC236}">
                <a16:creationId xmlns:a16="http://schemas.microsoft.com/office/drawing/2014/main" id="{A9BFA889-A37B-4DB7-B067-EAA5378D4FCD}"/>
              </a:ext>
            </a:extLst>
          </p:cNvPr>
          <p:cNvSpPr txBox="1">
            <a:spLocks/>
          </p:cNvSpPr>
          <p:nvPr/>
        </p:nvSpPr>
        <p:spPr>
          <a:xfrm>
            <a:off x="1810105" y="5420241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ISTEMAS INFORMACIÓN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6" name="Picture 4">
            <a:extLst>
              <a:ext uri="{FF2B5EF4-FFF2-40B4-BE49-F238E27FC236}">
                <a16:creationId xmlns:a16="http://schemas.microsoft.com/office/drawing/2014/main" id="{FB769007-101A-4C27-A8A1-7BB6D58325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4027" y="4871609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1 Título">
            <a:extLst>
              <a:ext uri="{FF2B5EF4-FFF2-40B4-BE49-F238E27FC236}">
                <a16:creationId xmlns:a16="http://schemas.microsoft.com/office/drawing/2014/main" id="{DE036976-9BA6-4037-BB84-9181FFA870DE}"/>
              </a:ext>
            </a:extLst>
          </p:cNvPr>
          <p:cNvSpPr txBox="1">
            <a:spLocks/>
          </p:cNvSpPr>
          <p:nvPr/>
        </p:nvSpPr>
        <p:spPr>
          <a:xfrm>
            <a:off x="-293749" y="5423552"/>
            <a:ext cx="2114769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RHH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7" name="Picture 4">
            <a:extLst>
              <a:ext uri="{FF2B5EF4-FFF2-40B4-BE49-F238E27FC236}">
                <a16:creationId xmlns:a16="http://schemas.microsoft.com/office/drawing/2014/main" id="{A4FD7596-276B-4515-AF5A-33D2289E9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301264" y="4963371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Picture 4">
            <a:extLst>
              <a:ext uri="{FF2B5EF4-FFF2-40B4-BE49-F238E27FC236}">
                <a16:creationId xmlns:a16="http://schemas.microsoft.com/office/drawing/2014/main" id="{75807836-9D41-4D45-9961-E18E13471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899581" y="4966807"/>
            <a:ext cx="926491" cy="7024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31278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Diapositiva de think-cell" r:id="rId8" imgW="396" imgH="396" progId="TCLayout.ActiveDocument.1">
                  <p:embed/>
                </p:oleObj>
              </mc:Choice>
              <mc:Fallback>
                <p:oleObj name="Diapositiva de think-cell" r:id="rId8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endParaRPr lang="es-ES" sz="2667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upo 7"/>
          <p:cNvGrpSpPr/>
          <p:nvPr/>
        </p:nvGrpSpPr>
        <p:grpSpPr>
          <a:xfrm>
            <a:off x="435439" y="940302"/>
            <a:ext cx="8217242" cy="5446850"/>
            <a:chOff x="1769166" y="830033"/>
            <a:chExt cx="8517834" cy="5639006"/>
          </a:xfrm>
        </p:grpSpPr>
        <p:pic>
          <p:nvPicPr>
            <p:cNvPr id="18436" name="Picture 4" descr="Icon television Royalty Free Vector Image - VectorStock"/>
            <p:cNvPicPr>
              <a:picLocks noChangeAspect="1" noChangeArrowheads="1"/>
            </p:cNvPicPr>
            <p:nvPr/>
          </p:nvPicPr>
          <p:blipFill rotWithShape="1">
            <a:blip r:embed="rId11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colorTemperature colorTemp="88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60" t="22263" r="6559" b="25896"/>
            <a:stretch/>
          </p:blipFill>
          <p:spPr bwMode="auto">
            <a:xfrm>
              <a:off x="1769166" y="830033"/>
              <a:ext cx="8517834" cy="56390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GVA NEXT_castellano">
              <a:hlinkClick r:id="" action="ppaction://media"/>
            </p:cNvPr>
            <p:cNvPicPr>
              <a:picLocks noChangeAspect="1"/>
            </p:cNvPicPr>
            <p:nvPr>
              <a:videoFile r:link="rId5"/>
              <p:extLst>
                <p:ext uri="{DAA4B4D4-6D71-4841-9C94-3DE7FCFB9230}">
                  <p14:media xmlns:p14="http://schemas.microsoft.com/office/powerpoint/2010/main" r:embed="rId4"/>
                </p:ext>
              </p:extLst>
            </p:nvPr>
          </p:nvPicPr>
          <p:blipFill>
            <a:blip r:embed="rId13"/>
            <a:stretch>
              <a:fillRect/>
            </a:stretch>
          </p:blipFill>
          <p:spPr>
            <a:xfrm>
              <a:off x="1960076" y="1226273"/>
              <a:ext cx="8110356" cy="4428569"/>
            </a:xfrm>
            <a:prstGeom prst="rect">
              <a:avLst/>
            </a:prstGeom>
          </p:spPr>
        </p:pic>
      </p:grpSp>
      <p:sp>
        <p:nvSpPr>
          <p:cNvPr id="19" name="Rectángulo: esquinas redondeadas 9">
            <a:extLst>
              <a:ext uri="{FF2B5EF4-FFF2-40B4-BE49-F238E27FC236}">
                <a16:creationId xmlns:a16="http://schemas.microsoft.com/office/drawing/2014/main" id="{9B6668C0-0E2F-4EEF-B006-78AC722E079B}"/>
              </a:ext>
            </a:extLst>
          </p:cNvPr>
          <p:cNvSpPr/>
          <p:nvPr/>
        </p:nvSpPr>
        <p:spPr>
          <a:xfrm>
            <a:off x="8836854" y="5673502"/>
            <a:ext cx="3193576" cy="797884"/>
          </a:xfrm>
          <a:prstGeom prst="roundRect">
            <a:avLst/>
          </a:prstGeom>
          <a:solidFill>
            <a:srgbClr val="9001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sz="2800" b="1" dirty="0">
                <a:solidFill>
                  <a:schemeClr val="bg1"/>
                </a:solidFill>
              </a:rPr>
              <a:t>www.gvanext.gva.es</a:t>
            </a:r>
          </a:p>
        </p:txBody>
      </p:sp>
      <p:pic>
        <p:nvPicPr>
          <p:cNvPr id="18439" name="Picture 7" descr="Conexión De Red De Onda Tecnología Web Ilustración Internet Vector De Señal  Wifi Ilustraciones Svg, Vectoriales, Clip Art Vectorizado Libre De  Derechos. Image 61416471.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51"/>
          <a:stretch/>
        </p:blipFill>
        <p:spPr bwMode="auto">
          <a:xfrm>
            <a:off x="9729225" y="4403190"/>
            <a:ext cx="1194493" cy="1068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ERRAMIENTA DE INFORMACIÓN Y ASESORAMIENTO</a:t>
            </a:r>
          </a:p>
        </p:txBody>
      </p:sp>
      <p:grpSp>
        <p:nvGrpSpPr>
          <p:cNvPr id="12" name="Grupo 11">
            <a:extLst>
              <a:ext uri="{FF2B5EF4-FFF2-40B4-BE49-F238E27FC236}">
                <a16:creationId xmlns:a16="http://schemas.microsoft.com/office/drawing/2014/main" id="{219A52B5-0A0E-4677-824D-A0D0A714068B}"/>
              </a:ext>
            </a:extLst>
          </p:cNvPr>
          <p:cNvGrpSpPr/>
          <p:nvPr/>
        </p:nvGrpSpPr>
        <p:grpSpPr>
          <a:xfrm>
            <a:off x="8627929" y="1568153"/>
            <a:ext cx="3686231" cy="1773314"/>
            <a:chOff x="1501254" y="1371600"/>
            <a:chExt cx="7453635" cy="4366996"/>
          </a:xfrm>
        </p:grpSpPr>
        <p:grpSp>
          <p:nvGrpSpPr>
            <p:cNvPr id="13" name="Grupo 12">
              <a:extLst>
                <a:ext uri="{FF2B5EF4-FFF2-40B4-BE49-F238E27FC236}">
                  <a16:creationId xmlns:a16="http://schemas.microsoft.com/office/drawing/2014/main" id="{E42760D1-79CC-448D-A1EC-EECB21343C24}"/>
                </a:ext>
              </a:extLst>
            </p:cNvPr>
            <p:cNvGrpSpPr/>
            <p:nvPr/>
          </p:nvGrpSpPr>
          <p:grpSpPr>
            <a:xfrm>
              <a:off x="2110794" y="1371600"/>
              <a:ext cx="6232266" cy="4171631"/>
              <a:chOff x="2110794" y="1371600"/>
              <a:chExt cx="6232266" cy="4171631"/>
            </a:xfrm>
          </p:grpSpPr>
          <p:pic>
            <p:nvPicPr>
              <p:cNvPr id="16" name="Imagen 15">
                <a:extLst>
                  <a:ext uri="{FF2B5EF4-FFF2-40B4-BE49-F238E27FC236}">
                    <a16:creationId xmlns:a16="http://schemas.microsoft.com/office/drawing/2014/main" id="{4E67BDAE-E462-435A-963C-501B19F909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/>
              <a:srcRect b="5671"/>
              <a:stretch/>
            </p:blipFill>
            <p:spPr>
              <a:xfrm>
                <a:off x="2314353" y="1622420"/>
                <a:ext cx="5822416" cy="3672911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sp>
            <p:nvSpPr>
              <p:cNvPr id="17" name="Google Shape;2039;p33">
                <a:extLst>
                  <a:ext uri="{FF2B5EF4-FFF2-40B4-BE49-F238E27FC236}">
                    <a16:creationId xmlns:a16="http://schemas.microsoft.com/office/drawing/2014/main" id="{D0860C69-E0D6-4F4D-8ED4-B7D3F1C6D7A3}"/>
                  </a:ext>
                </a:extLst>
              </p:cNvPr>
              <p:cNvSpPr/>
              <p:nvPr/>
            </p:nvSpPr>
            <p:spPr>
              <a:xfrm>
                <a:off x="2110794" y="1371600"/>
                <a:ext cx="6232266" cy="4171631"/>
              </a:xfrm>
              <a:custGeom>
                <a:avLst/>
                <a:gdLst/>
                <a:ahLst/>
                <a:cxnLst/>
                <a:rect l="l" t="t" r="r" b="b"/>
                <a:pathLst>
                  <a:path w="5161606" h="3454973" extrusionOk="0">
                    <a:moveTo>
                      <a:pt x="4992053" y="0"/>
                    </a:moveTo>
                    <a:lnTo>
                      <a:pt x="170498" y="0"/>
                    </a:lnTo>
                    <a:cubicBezTo>
                      <a:pt x="76200" y="0"/>
                      <a:pt x="0" y="76143"/>
                      <a:pt x="0" y="170369"/>
                    </a:cubicBezTo>
                    <a:lnTo>
                      <a:pt x="0" y="3396915"/>
                    </a:lnTo>
                    <a:cubicBezTo>
                      <a:pt x="0" y="3429275"/>
                      <a:pt x="26670" y="3454973"/>
                      <a:pt x="58102" y="3454973"/>
                    </a:cubicBezTo>
                    <a:lnTo>
                      <a:pt x="5103495" y="3454973"/>
                    </a:lnTo>
                    <a:cubicBezTo>
                      <a:pt x="5135880" y="3454973"/>
                      <a:pt x="5161598" y="3428324"/>
                      <a:pt x="5161598" y="3396915"/>
                    </a:cubicBezTo>
                    <a:lnTo>
                      <a:pt x="5161598" y="170369"/>
                    </a:lnTo>
                    <a:cubicBezTo>
                      <a:pt x="5162550" y="76143"/>
                      <a:pt x="5086350" y="0"/>
                      <a:pt x="4992053" y="0"/>
                    </a:cubicBezTo>
                    <a:close/>
                    <a:moveTo>
                      <a:pt x="4981575" y="3245581"/>
                    </a:moveTo>
                    <a:lnTo>
                      <a:pt x="190500" y="3245581"/>
                    </a:lnTo>
                    <a:lnTo>
                      <a:pt x="190500" y="199874"/>
                    </a:lnTo>
                    <a:lnTo>
                      <a:pt x="4981575" y="199874"/>
                    </a:lnTo>
                    <a:lnTo>
                      <a:pt x="4981575" y="3245581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4" name="Google Shape;2040;p33">
              <a:extLst>
                <a:ext uri="{FF2B5EF4-FFF2-40B4-BE49-F238E27FC236}">
                  <a16:creationId xmlns:a16="http://schemas.microsoft.com/office/drawing/2014/main" id="{4C19F920-5AB7-4EB1-B724-A448E5D4F56E}"/>
                </a:ext>
              </a:extLst>
            </p:cNvPr>
            <p:cNvSpPr/>
            <p:nvPr/>
          </p:nvSpPr>
          <p:spPr>
            <a:xfrm>
              <a:off x="1501254" y="5623675"/>
              <a:ext cx="7453635" cy="114921"/>
            </a:xfrm>
            <a:custGeom>
              <a:avLst/>
              <a:gdLst/>
              <a:ahLst/>
              <a:cxnLst/>
              <a:rect l="l" t="t" r="r" b="b"/>
              <a:pathLst>
                <a:path w="6173152" h="95178" extrusionOk="0">
                  <a:moveTo>
                    <a:pt x="0" y="0"/>
                  </a:moveTo>
                  <a:cubicBezTo>
                    <a:pt x="0" y="0"/>
                    <a:pt x="129540" y="95178"/>
                    <a:pt x="450533" y="95178"/>
                  </a:cubicBezTo>
                  <a:lnTo>
                    <a:pt x="5817870" y="95178"/>
                  </a:lnTo>
                  <a:cubicBezTo>
                    <a:pt x="5948363" y="95178"/>
                    <a:pt x="6173153" y="0"/>
                    <a:pt x="617315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>
              <a:outerShdw blurRad="100013" dist="28575" dir="5400000" algn="bl" rotWithShape="0">
                <a:srgbClr val="38226D">
                  <a:alpha val="30000"/>
                </a:srgbClr>
              </a:outerShdw>
            </a:effectLst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" name="Google Shape;2041;p33">
              <a:extLst>
                <a:ext uri="{FF2B5EF4-FFF2-40B4-BE49-F238E27FC236}">
                  <a16:creationId xmlns:a16="http://schemas.microsoft.com/office/drawing/2014/main" id="{BC14AB02-2F84-4FA3-8A7A-4D8756EF5E70}"/>
                </a:ext>
              </a:extLst>
            </p:cNvPr>
            <p:cNvSpPr/>
            <p:nvPr/>
          </p:nvSpPr>
          <p:spPr>
            <a:xfrm>
              <a:off x="1501254" y="5531738"/>
              <a:ext cx="7452486" cy="91936"/>
            </a:xfrm>
            <a:custGeom>
              <a:avLst/>
              <a:gdLst/>
              <a:ahLst/>
              <a:cxnLst/>
              <a:rect l="l" t="t" r="r" b="b"/>
              <a:pathLst>
                <a:path w="6172200" h="76142" extrusionOk="0">
                  <a:moveTo>
                    <a:pt x="0" y="76143"/>
                  </a:moveTo>
                  <a:lnTo>
                    <a:pt x="6172200" y="76143"/>
                  </a:lnTo>
                  <a:lnTo>
                    <a:pt x="617220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51557795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ERRAMIENTA DE INFORMACIÓN Y ASESORAMIENTO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ángulo 9"/>
          <p:cNvSpPr/>
          <p:nvPr/>
        </p:nvSpPr>
        <p:spPr>
          <a:xfrm>
            <a:off x="419449" y="881690"/>
            <a:ext cx="115003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indent="0">
              <a:buNone/>
            </a:pPr>
            <a:r>
              <a:rPr lang="es-ES" sz="2000" b="1" dirty="0">
                <a:solidFill>
                  <a:schemeClr val="dk1"/>
                </a:solidFill>
                <a:latin typeface="Barlow Light"/>
                <a:sym typeface="Barlow Light"/>
              </a:rPr>
              <a:t>Distintos recursos de información sobre los fondos </a:t>
            </a:r>
            <a:r>
              <a:rPr lang="es-ES" sz="2000" b="1" i="1" dirty="0" err="1">
                <a:solidFill>
                  <a:schemeClr val="dk1"/>
                </a:solidFill>
                <a:latin typeface="Barlow Light"/>
                <a:sym typeface="Barlow Light"/>
              </a:rPr>
              <a:t>Next</a:t>
            </a:r>
            <a:r>
              <a:rPr lang="es-ES" sz="2000" b="1" i="1" dirty="0">
                <a:solidFill>
                  <a:schemeClr val="dk1"/>
                </a:solidFill>
                <a:latin typeface="Barlow Light"/>
                <a:sym typeface="Barlow Light"/>
              </a:rPr>
              <a:t> </a:t>
            </a:r>
            <a:r>
              <a:rPr lang="es-ES" sz="2000" b="1" i="1" dirty="0" err="1">
                <a:solidFill>
                  <a:schemeClr val="dk1"/>
                </a:solidFill>
                <a:latin typeface="Barlow Light"/>
                <a:sym typeface="Barlow Light"/>
              </a:rPr>
              <a:t>Generation</a:t>
            </a:r>
            <a:endParaRPr lang="es-ES" sz="2000" i="1" dirty="0"/>
          </a:p>
        </p:txBody>
      </p:sp>
      <p:grpSp>
        <p:nvGrpSpPr>
          <p:cNvPr id="35" name="Grupo 34"/>
          <p:cNvGrpSpPr/>
          <p:nvPr/>
        </p:nvGrpSpPr>
        <p:grpSpPr>
          <a:xfrm>
            <a:off x="143339" y="1384995"/>
            <a:ext cx="11905322" cy="5322277"/>
            <a:chOff x="143339" y="1384995"/>
            <a:chExt cx="11905322" cy="5322277"/>
          </a:xfrm>
        </p:grpSpPr>
        <p:grpSp>
          <p:nvGrpSpPr>
            <p:cNvPr id="34" name="Grupo 33"/>
            <p:cNvGrpSpPr/>
            <p:nvPr/>
          </p:nvGrpSpPr>
          <p:grpSpPr>
            <a:xfrm>
              <a:off x="143339" y="1384995"/>
              <a:ext cx="11905322" cy="5322277"/>
              <a:chOff x="143339" y="1384995"/>
              <a:chExt cx="11905322" cy="5322277"/>
            </a:xfrm>
          </p:grpSpPr>
          <p:pic>
            <p:nvPicPr>
              <p:cNvPr id="2" name="Imagen 1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4414649" y="1384995"/>
                <a:ext cx="7634012" cy="5134708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9" name="Imagen 8">
                <a:extLst>
                  <a:ext uri="{FF2B5EF4-FFF2-40B4-BE49-F238E27FC236}">
                    <a16:creationId xmlns:a16="http://schemas.microsoft.com/office/drawing/2014/main" id="{C324EAF2-4816-17F4-1EC3-FB5742B17AC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10500" r="68408" b="7337"/>
              <a:stretch/>
            </p:blipFill>
            <p:spPr>
              <a:xfrm>
                <a:off x="143339" y="1384995"/>
                <a:ext cx="3620587" cy="5322277"/>
              </a:xfrm>
              <a:prstGeom prst="rect">
                <a:avLst/>
              </a:prstGeom>
            </p:spPr>
          </p:pic>
          <p:cxnSp>
            <p:nvCxnSpPr>
              <p:cNvPr id="25" name="Conector recto de flecha 24"/>
              <p:cNvCxnSpPr/>
              <p:nvPr/>
            </p:nvCxnSpPr>
            <p:spPr>
              <a:xfrm flipV="1">
                <a:off x="3521557" y="2196716"/>
                <a:ext cx="4287893" cy="4158756"/>
              </a:xfrm>
              <a:prstGeom prst="straightConnector1">
                <a:avLst/>
              </a:prstGeom>
              <a:ln w="38100">
                <a:solidFill>
                  <a:srgbClr val="D9513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Conector recto de flecha 29"/>
              <p:cNvCxnSpPr/>
              <p:nvPr/>
            </p:nvCxnSpPr>
            <p:spPr>
              <a:xfrm flipV="1">
                <a:off x="3536305" y="2157047"/>
                <a:ext cx="2017280" cy="3171861"/>
              </a:xfrm>
              <a:prstGeom prst="straightConnector1">
                <a:avLst/>
              </a:prstGeom>
              <a:ln w="38100">
                <a:solidFill>
                  <a:srgbClr val="D9513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Conector recto de flecha 30"/>
              <p:cNvCxnSpPr/>
              <p:nvPr/>
            </p:nvCxnSpPr>
            <p:spPr>
              <a:xfrm flipV="1">
                <a:off x="3791845" y="2220780"/>
                <a:ext cx="3350299" cy="1157041"/>
              </a:xfrm>
              <a:prstGeom prst="straightConnector1">
                <a:avLst/>
              </a:prstGeom>
              <a:ln w="38100">
                <a:solidFill>
                  <a:srgbClr val="D9513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1" name="Imagen 10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74580" y="1785105"/>
              <a:ext cx="615088" cy="517679"/>
            </a:xfrm>
            <a:prstGeom prst="rect">
              <a:avLst/>
            </a:prstGeom>
          </p:spPr>
        </p:pic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42010" y="1785104"/>
              <a:ext cx="824881" cy="517679"/>
            </a:xfrm>
            <a:prstGeom prst="rect">
              <a:avLst/>
            </a:prstGeom>
          </p:spPr>
        </p:pic>
        <p:pic>
          <p:nvPicPr>
            <p:cNvPr id="13" name="Imagen 12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42377" y="1785103"/>
              <a:ext cx="612474" cy="51767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843091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ERRAMIENTA DE INFORMACIÓN Y ASESORAMIENTO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ángulo 1"/>
          <p:cNvSpPr/>
          <p:nvPr/>
        </p:nvSpPr>
        <p:spPr>
          <a:xfrm>
            <a:off x="435439" y="1072915"/>
            <a:ext cx="1150033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indent="0">
              <a:buNone/>
            </a:pPr>
            <a:r>
              <a:rPr lang="es-ES" sz="2000" b="1" dirty="0">
                <a:solidFill>
                  <a:schemeClr val="dk1"/>
                </a:solidFill>
                <a:latin typeface="Barlow Light"/>
                <a:sym typeface="Barlow Light"/>
              </a:rPr>
              <a:t>Asistente virtual</a:t>
            </a:r>
            <a:r>
              <a:rPr lang="es-ES" sz="2000" dirty="0">
                <a:solidFill>
                  <a:schemeClr val="dk1"/>
                </a:solidFill>
                <a:latin typeface="Barlow Light"/>
                <a:sym typeface="Barlow Light"/>
              </a:rPr>
              <a:t>: </a:t>
            </a:r>
            <a:r>
              <a:rPr lang="es-ES_tradnl" sz="2000" dirty="0"/>
              <a:t>definición del perfil e intereses en 3 pasos, para recibir información personalizada. </a:t>
            </a:r>
            <a:r>
              <a:rPr lang="es-ES" sz="2000" dirty="0"/>
              <a:t> </a:t>
            </a:r>
          </a:p>
        </p:txBody>
      </p:sp>
      <p:grpSp>
        <p:nvGrpSpPr>
          <p:cNvPr id="18" name="Grupo 17"/>
          <p:cNvGrpSpPr/>
          <p:nvPr/>
        </p:nvGrpSpPr>
        <p:grpSpPr>
          <a:xfrm>
            <a:off x="708553" y="1964552"/>
            <a:ext cx="7860291" cy="3911860"/>
            <a:chOff x="947831" y="1689662"/>
            <a:chExt cx="6852704" cy="3410410"/>
          </a:xfrm>
        </p:grpSpPr>
        <p:pic>
          <p:nvPicPr>
            <p:cNvPr id="19" name="Imagen 18">
              <a:extLst>
                <a:ext uri="{FF2B5EF4-FFF2-40B4-BE49-F238E27FC236}">
                  <a16:creationId xmlns:a16="http://schemas.microsoft.com/office/drawing/2014/main" id="{B07609B1-985D-9EE5-092D-E697B6E7025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29120" r="49144"/>
            <a:stretch/>
          </p:blipFill>
          <p:spPr>
            <a:xfrm>
              <a:off x="947831" y="2659587"/>
              <a:ext cx="2442932" cy="1826593"/>
            </a:xfrm>
            <a:prstGeom prst="rect">
              <a:avLst/>
            </a:prstGeom>
          </p:spPr>
        </p:pic>
        <p:pic>
          <p:nvPicPr>
            <p:cNvPr id="20" name="Imagen 19">
              <a:extLst>
                <a:ext uri="{FF2B5EF4-FFF2-40B4-BE49-F238E27FC236}">
                  <a16:creationId xmlns:a16="http://schemas.microsoft.com/office/drawing/2014/main" id="{D77F4002-AFE2-A3DE-DFD6-B009A52859C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22464" r="49099" b="7971"/>
            <a:stretch/>
          </p:blipFill>
          <p:spPr>
            <a:xfrm>
              <a:off x="3416369" y="2711031"/>
              <a:ext cx="2271587" cy="1929844"/>
            </a:xfrm>
            <a:prstGeom prst="rect">
              <a:avLst/>
            </a:prstGeom>
          </p:spPr>
        </p:pic>
        <p:pic>
          <p:nvPicPr>
            <p:cNvPr id="21" name="Imagen 20">
              <a:extLst>
                <a:ext uri="{FF2B5EF4-FFF2-40B4-BE49-F238E27FC236}">
                  <a16:creationId xmlns:a16="http://schemas.microsoft.com/office/drawing/2014/main" id="{406D1F57-DA04-A7AC-C0A5-464A40ACE7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244316" y="2050561"/>
              <a:ext cx="5841680" cy="536803"/>
            </a:xfrm>
            <a:prstGeom prst="rect">
              <a:avLst/>
            </a:prstGeom>
          </p:spPr>
        </p:pic>
        <p:pic>
          <p:nvPicPr>
            <p:cNvPr id="22" name="Imagen 21">
              <a:extLst>
                <a:ext uri="{FF2B5EF4-FFF2-40B4-BE49-F238E27FC236}">
                  <a16:creationId xmlns:a16="http://schemas.microsoft.com/office/drawing/2014/main" id="{226CC89D-CD1F-0881-D51A-89B5B53822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810142" y="2659587"/>
              <a:ext cx="1892621" cy="2440485"/>
            </a:xfrm>
            <a:prstGeom prst="rect">
              <a:avLst/>
            </a:prstGeom>
          </p:spPr>
        </p:pic>
        <p:pic>
          <p:nvPicPr>
            <p:cNvPr id="23" name="Imagen 22"/>
            <p:cNvPicPr>
              <a:picLocks noChangeAspect="1"/>
            </p:cNvPicPr>
            <p:nvPr/>
          </p:nvPicPr>
          <p:blipFill rotWithShape="1">
            <a:blip r:embed="rId13"/>
            <a:srcRect t="54548"/>
            <a:stretch/>
          </p:blipFill>
          <p:spPr>
            <a:xfrm>
              <a:off x="947831" y="1689662"/>
              <a:ext cx="6852704" cy="394689"/>
            </a:xfrm>
            <a:prstGeom prst="rect">
              <a:avLst/>
            </a:prstGeom>
          </p:spPr>
        </p:pic>
      </p:grpSp>
      <p:pic>
        <p:nvPicPr>
          <p:cNvPr id="24" name="Imagen 2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663" y="1637632"/>
            <a:ext cx="1191621" cy="1002909"/>
          </a:xfrm>
          <a:prstGeom prst="rect">
            <a:avLst/>
          </a:prstGeom>
        </p:spPr>
      </p:pic>
      <p:sp>
        <p:nvSpPr>
          <p:cNvPr id="25" name="CuadroTexto 24">
            <a:extLst>
              <a:ext uri="{FF2B5EF4-FFF2-40B4-BE49-F238E27FC236}">
                <a16:creationId xmlns:a16="http://schemas.microsoft.com/office/drawing/2014/main" id="{43AA1A8C-2AD7-3843-8F92-4282CB2AC457}"/>
              </a:ext>
            </a:extLst>
          </p:cNvPr>
          <p:cNvSpPr txBox="1"/>
          <p:nvPr/>
        </p:nvSpPr>
        <p:spPr>
          <a:xfrm>
            <a:off x="9022848" y="2994248"/>
            <a:ext cx="2408236" cy="15696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>
              <a:defRPr sz="1000" i="1">
                <a:solidFill>
                  <a:schemeClr val="tx1"/>
                </a:solidFill>
              </a:defRPr>
            </a:lvl1pPr>
          </a:lstStyle>
          <a:p>
            <a:pPr algn="just"/>
            <a:r>
              <a:rPr lang="es-ES" sz="1600" dirty="0"/>
              <a:t>Posibilidad de </a:t>
            </a:r>
            <a:r>
              <a:rPr lang="es-ES" sz="1600" b="1" dirty="0"/>
              <a:t>recibir</a:t>
            </a:r>
            <a:r>
              <a:rPr lang="es-ES" sz="1600" dirty="0"/>
              <a:t> </a:t>
            </a:r>
            <a:r>
              <a:rPr lang="es-ES" sz="1600" b="1" dirty="0"/>
              <a:t>notificaciones</a:t>
            </a:r>
            <a:r>
              <a:rPr lang="es-ES" sz="1600" dirty="0"/>
              <a:t> vía e-mail cuando se publican nuevas </a:t>
            </a:r>
            <a:r>
              <a:rPr lang="es-ES" sz="1600" b="1" dirty="0"/>
              <a:t>oportunidades que encajan con el perfil </a:t>
            </a:r>
            <a:r>
              <a:rPr lang="es-ES" sz="1600" dirty="0"/>
              <a:t>configurado en el Asistente </a:t>
            </a:r>
          </a:p>
        </p:txBody>
      </p:sp>
    </p:spTree>
    <p:extLst>
      <p:ext uri="{BB962C8B-B14F-4D97-AF65-F5344CB8AC3E}">
        <p14:creationId xmlns:p14="http://schemas.microsoft.com/office/powerpoint/2010/main" val="27041975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ERRAMIENTA DE INFORMACIÓN Y ASESORAMIENTO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Rectángulo 16"/>
          <p:cNvSpPr/>
          <p:nvPr/>
        </p:nvSpPr>
        <p:spPr>
          <a:xfrm>
            <a:off x="240500" y="974978"/>
            <a:ext cx="11190584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indent="0">
              <a:buNone/>
            </a:pPr>
            <a:r>
              <a:rPr lang="es-ES_tradnl" dirty="0">
                <a:solidFill>
                  <a:schemeClr val="tx1"/>
                </a:solidFill>
              </a:rPr>
              <a:t>Acceso al “</a:t>
            </a:r>
            <a:r>
              <a:rPr lang="es-ES_tradnl" sz="2000" b="1" dirty="0">
                <a:solidFill>
                  <a:schemeClr val="dk1"/>
                </a:solidFill>
                <a:latin typeface="Barlow Light"/>
              </a:rPr>
              <a:t>listado de oportunidades</a:t>
            </a:r>
            <a:r>
              <a:rPr lang="es-ES_tradnl" dirty="0">
                <a:solidFill>
                  <a:schemeClr val="tx1"/>
                </a:solidFill>
              </a:rPr>
              <a:t>”</a:t>
            </a:r>
            <a:r>
              <a:rPr lang="es-ES" dirty="0">
                <a:solidFill>
                  <a:schemeClr val="tx1"/>
                </a:solidFill>
              </a:rPr>
              <a:t>, con indicación de la “probabilidad de éxito”, de acuerdo con el grado de ajuste de la convocatoria a tu perfil e intereses.</a:t>
            </a:r>
          </a:p>
        </p:txBody>
      </p:sp>
      <p:grpSp>
        <p:nvGrpSpPr>
          <p:cNvPr id="26" name="Grupo 25"/>
          <p:cNvGrpSpPr/>
          <p:nvPr/>
        </p:nvGrpSpPr>
        <p:grpSpPr>
          <a:xfrm>
            <a:off x="2658139" y="1947074"/>
            <a:ext cx="5918082" cy="4627857"/>
            <a:chOff x="1673498" y="1777234"/>
            <a:chExt cx="5863349" cy="4585057"/>
          </a:xfrm>
        </p:grpSpPr>
        <p:pic>
          <p:nvPicPr>
            <p:cNvPr id="27" name="Imagen 26">
              <a:extLst>
                <a:ext uri="{FF2B5EF4-FFF2-40B4-BE49-F238E27FC236}">
                  <a16:creationId xmlns:a16="http://schemas.microsoft.com/office/drawing/2014/main" id="{B5BEA1B5-B63E-6F9A-7925-47D79AB83C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6809"/>
            <a:stretch/>
          </p:blipFill>
          <p:spPr>
            <a:xfrm>
              <a:off x="1673498" y="1777234"/>
              <a:ext cx="5863349" cy="458505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8" name="Imagen 27"/>
            <p:cNvPicPr>
              <a:picLocks noChangeAspect="1"/>
            </p:cNvPicPr>
            <p:nvPr/>
          </p:nvPicPr>
          <p:blipFill rotWithShape="1">
            <a:blip r:embed="rId10"/>
            <a:srcRect b="71009"/>
            <a:stretch/>
          </p:blipFill>
          <p:spPr>
            <a:xfrm>
              <a:off x="1673498" y="1777234"/>
              <a:ext cx="5863349" cy="711133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sp>
        <p:nvSpPr>
          <p:cNvPr id="29" name="CuadroTexto 28">
            <a:extLst>
              <a:ext uri="{FF2B5EF4-FFF2-40B4-BE49-F238E27FC236}">
                <a16:creationId xmlns:a16="http://schemas.microsoft.com/office/drawing/2014/main" id="{836F906D-5FD5-7C3C-336C-DE9C2557F88B}"/>
              </a:ext>
            </a:extLst>
          </p:cNvPr>
          <p:cNvSpPr txBox="1"/>
          <p:nvPr/>
        </p:nvSpPr>
        <p:spPr>
          <a:xfrm>
            <a:off x="8935893" y="2998216"/>
            <a:ext cx="2582145" cy="11387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s-ES" sz="1600" i="1" dirty="0">
                <a:solidFill>
                  <a:schemeClr val="tx1"/>
                </a:solidFill>
              </a:rPr>
              <a:t>Al completar el “Asistente virtual”, se mostrará la “probabilidad de éxito” en cada convocatoria</a:t>
            </a:r>
            <a:r>
              <a:rPr lang="es-ES" sz="2000" dirty="0">
                <a:latin typeface="+mn-lt"/>
              </a:rPr>
              <a:t>.</a:t>
            </a:r>
          </a:p>
        </p:txBody>
      </p:sp>
      <p:pic>
        <p:nvPicPr>
          <p:cNvPr id="30" name="Imagen 2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841406" flipH="1">
            <a:off x="8526562" y="2752929"/>
            <a:ext cx="474729" cy="297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7362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AD4C16C5-ADE2-4B15-8E3C-7578076111A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045" y="727457"/>
            <a:ext cx="10037923" cy="6130543"/>
          </a:xfrm>
          <a:prstGeom prst="rect">
            <a:avLst/>
          </a:prstGeom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AN ESPAÑA PUEDE</a:t>
            </a:r>
          </a:p>
        </p:txBody>
      </p:sp>
    </p:spTree>
    <p:extLst>
      <p:ext uri="{BB962C8B-B14F-4D97-AF65-F5344CB8AC3E}">
        <p14:creationId xmlns:p14="http://schemas.microsoft.com/office/powerpoint/2010/main" val="16044815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>
            <a:extLst>
              <a:ext uri="{FF2B5EF4-FFF2-40B4-BE49-F238E27FC236}">
                <a16:creationId xmlns:a16="http://schemas.microsoft.com/office/drawing/2014/main" id="{8A781DBB-8A32-49BD-A6A9-927816E949C0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CURSOS HUMANOS</a:t>
            </a:r>
          </a:p>
        </p:txBody>
      </p:sp>
      <p:pic>
        <p:nvPicPr>
          <p:cNvPr id="7" name="Imagen 6">
            <a:extLst>
              <a:ext uri="{FF2B5EF4-FFF2-40B4-BE49-F238E27FC236}">
                <a16:creationId xmlns:a16="http://schemas.microsoft.com/office/drawing/2014/main" id="{08045E3E-CEC4-6410-866E-2BC42107411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3055"/>
          <a:stretch/>
        </p:blipFill>
        <p:spPr>
          <a:xfrm>
            <a:off x="6952752" y="830032"/>
            <a:ext cx="5063248" cy="5970085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F13C1432-A5B1-9916-442C-038ECC9D90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05617" y="2777162"/>
            <a:ext cx="6497804" cy="336657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" name="Flecha: a la derecha 1">
            <a:extLst>
              <a:ext uri="{FF2B5EF4-FFF2-40B4-BE49-F238E27FC236}">
                <a16:creationId xmlns:a16="http://schemas.microsoft.com/office/drawing/2014/main" id="{D487BC49-7118-5723-0042-D35E33808276}"/>
              </a:ext>
            </a:extLst>
          </p:cNvPr>
          <p:cNvSpPr/>
          <p:nvPr/>
        </p:nvSpPr>
        <p:spPr>
          <a:xfrm>
            <a:off x="4228601" y="827688"/>
            <a:ext cx="2276475" cy="89535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Prueba 1 octubre</a:t>
            </a:r>
          </a:p>
        </p:txBody>
      </p:sp>
      <p:sp>
        <p:nvSpPr>
          <p:cNvPr id="5" name="Flecha: a la derecha 4">
            <a:extLst>
              <a:ext uri="{FF2B5EF4-FFF2-40B4-BE49-F238E27FC236}">
                <a16:creationId xmlns:a16="http://schemas.microsoft.com/office/drawing/2014/main" id="{C682377B-79DF-3E75-5C82-4202AD78884C}"/>
              </a:ext>
            </a:extLst>
          </p:cNvPr>
          <p:cNvSpPr/>
          <p:nvPr/>
        </p:nvSpPr>
        <p:spPr>
          <a:xfrm rot="5400000">
            <a:off x="810913" y="1003236"/>
            <a:ext cx="1781872" cy="12232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/>
              <a:t>Incorporación octubre</a:t>
            </a:r>
          </a:p>
        </p:txBody>
      </p:sp>
    </p:spTree>
    <p:extLst>
      <p:ext uri="{BB962C8B-B14F-4D97-AF65-F5344CB8AC3E}">
        <p14:creationId xmlns:p14="http://schemas.microsoft.com/office/powerpoint/2010/main" val="1053539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1 Título">
            <a:extLst>
              <a:ext uri="{FF2B5EF4-FFF2-40B4-BE49-F238E27FC236}">
                <a16:creationId xmlns:a16="http://schemas.microsoft.com/office/drawing/2014/main" id="{8A781DBB-8A32-49BD-A6A9-927816E949C0}"/>
              </a:ext>
            </a:extLst>
          </p:cNvPr>
          <p:cNvSpPr txBox="1">
            <a:spLocks/>
          </p:cNvSpPr>
          <p:nvPr/>
        </p:nvSpPr>
        <p:spPr>
          <a:xfrm>
            <a:off x="976870" y="-202698"/>
            <a:ext cx="9912801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untos GVA NEXT</a:t>
            </a:r>
          </a:p>
        </p:txBody>
      </p:sp>
      <p:grpSp>
        <p:nvGrpSpPr>
          <p:cNvPr id="11" name="Grupo 876">
            <a:extLst>
              <a:ext uri="{FF2B5EF4-FFF2-40B4-BE49-F238E27FC236}">
                <a16:creationId xmlns:a16="http://schemas.microsoft.com/office/drawing/2014/main" id="{673F5A0C-FD91-40E1-BC96-0FECB127E6FB}"/>
              </a:ext>
            </a:extLst>
          </p:cNvPr>
          <p:cNvGrpSpPr/>
          <p:nvPr/>
        </p:nvGrpSpPr>
        <p:grpSpPr>
          <a:xfrm>
            <a:off x="4705351" y="3019425"/>
            <a:ext cx="2410066" cy="3105119"/>
            <a:chOff x="5685300" y="823747"/>
            <a:chExt cx="2948483" cy="3840707"/>
          </a:xfrm>
        </p:grpSpPr>
        <p:grpSp>
          <p:nvGrpSpPr>
            <p:cNvPr id="13" name="Google Shape;744;p18">
              <a:extLst>
                <a:ext uri="{FF2B5EF4-FFF2-40B4-BE49-F238E27FC236}">
                  <a16:creationId xmlns:a16="http://schemas.microsoft.com/office/drawing/2014/main" id="{3F218BD5-C82B-4338-AA72-C57C4D9DA176}"/>
                </a:ext>
              </a:extLst>
            </p:cNvPr>
            <p:cNvGrpSpPr/>
            <p:nvPr/>
          </p:nvGrpSpPr>
          <p:grpSpPr>
            <a:xfrm>
              <a:off x="5685300" y="1449820"/>
              <a:ext cx="2948483" cy="3214634"/>
              <a:chOff x="2152750" y="271657"/>
              <a:chExt cx="4293756" cy="4681342"/>
            </a:xfrm>
          </p:grpSpPr>
          <p:sp>
            <p:nvSpPr>
              <p:cNvPr id="15" name="Google Shape;745;p18">
                <a:extLst>
                  <a:ext uri="{FF2B5EF4-FFF2-40B4-BE49-F238E27FC236}">
                    <a16:creationId xmlns:a16="http://schemas.microsoft.com/office/drawing/2014/main" id="{E86405D5-A1BD-40F9-AC21-1214B81598DE}"/>
                  </a:ext>
                </a:extLst>
              </p:cNvPr>
              <p:cNvSpPr/>
              <p:nvPr/>
            </p:nvSpPr>
            <p:spPr>
              <a:xfrm>
                <a:off x="2152750" y="2957607"/>
                <a:ext cx="756691" cy="437959"/>
              </a:xfrm>
              <a:custGeom>
                <a:avLst/>
                <a:gdLst/>
                <a:ahLst/>
                <a:cxnLst/>
                <a:rect l="l" t="t" r="r" b="b"/>
                <a:pathLst>
                  <a:path w="756691" h="437959" extrusionOk="0">
                    <a:moveTo>
                      <a:pt x="756692" y="218980"/>
                    </a:moveTo>
                    <a:cubicBezTo>
                      <a:pt x="756692" y="339919"/>
                      <a:pt x="587300" y="437959"/>
                      <a:pt x="378346" y="437959"/>
                    </a:cubicBezTo>
                    <a:cubicBezTo>
                      <a:pt x="169391" y="437959"/>
                      <a:pt x="0" y="339919"/>
                      <a:pt x="0" y="218980"/>
                    </a:cubicBezTo>
                    <a:cubicBezTo>
                      <a:pt x="0" y="98041"/>
                      <a:pt x="169391" y="0"/>
                      <a:pt x="378346" y="0"/>
                    </a:cubicBezTo>
                    <a:cubicBezTo>
                      <a:pt x="587300" y="0"/>
                      <a:pt x="756692" y="98041"/>
                      <a:pt x="756692" y="21898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" name="Google Shape;746;p18">
                <a:extLst>
                  <a:ext uri="{FF2B5EF4-FFF2-40B4-BE49-F238E27FC236}">
                    <a16:creationId xmlns:a16="http://schemas.microsoft.com/office/drawing/2014/main" id="{B299552C-448D-480B-A6DA-39897F7E085E}"/>
                  </a:ext>
                </a:extLst>
              </p:cNvPr>
              <p:cNvSpPr/>
              <p:nvPr/>
            </p:nvSpPr>
            <p:spPr>
              <a:xfrm>
                <a:off x="2318956" y="3109336"/>
                <a:ext cx="225716" cy="175248"/>
              </a:xfrm>
              <a:custGeom>
                <a:avLst/>
                <a:gdLst/>
                <a:ahLst/>
                <a:cxnLst/>
                <a:rect l="l" t="t" r="r" b="b"/>
                <a:pathLst>
                  <a:path w="225716" h="175248" extrusionOk="0">
                    <a:moveTo>
                      <a:pt x="18072" y="5"/>
                    </a:moveTo>
                    <a:cubicBezTo>
                      <a:pt x="45158" y="22103"/>
                      <a:pt x="85074" y="1910"/>
                      <a:pt x="87070" y="3910"/>
                    </a:cubicBezTo>
                    <a:cubicBezTo>
                      <a:pt x="118886" y="33494"/>
                      <a:pt x="152260" y="61346"/>
                      <a:pt x="187050" y="87349"/>
                    </a:cubicBezTo>
                    <a:cubicBezTo>
                      <a:pt x="203871" y="100684"/>
                      <a:pt x="230197" y="118400"/>
                      <a:pt x="225065" y="144023"/>
                    </a:cubicBezTo>
                    <a:cubicBezTo>
                      <a:pt x="216511" y="189742"/>
                      <a:pt x="143522" y="175646"/>
                      <a:pt x="115961" y="161644"/>
                    </a:cubicBezTo>
                    <a:cubicBezTo>
                      <a:pt x="88400" y="147642"/>
                      <a:pt x="65876" y="124496"/>
                      <a:pt x="39931" y="108304"/>
                    </a:cubicBezTo>
                    <a:cubicBezTo>
                      <a:pt x="20924" y="96683"/>
                      <a:pt x="2961" y="90682"/>
                      <a:pt x="110" y="67156"/>
                    </a:cubicBezTo>
                    <a:cubicBezTo>
                      <a:pt x="-1410" y="52964"/>
                      <a:pt x="13225" y="-567"/>
                      <a:pt x="18072" y="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" name="Google Shape;747;p18">
                <a:extLst>
                  <a:ext uri="{FF2B5EF4-FFF2-40B4-BE49-F238E27FC236}">
                    <a16:creationId xmlns:a16="http://schemas.microsoft.com/office/drawing/2014/main" id="{C58D673B-B7DA-4679-83AF-521D34566DAA}"/>
                  </a:ext>
                </a:extLst>
              </p:cNvPr>
              <p:cNvSpPr/>
              <p:nvPr/>
            </p:nvSpPr>
            <p:spPr>
              <a:xfrm>
                <a:off x="2319304" y="3166967"/>
                <a:ext cx="224715" cy="117585"/>
              </a:xfrm>
              <a:custGeom>
                <a:avLst/>
                <a:gdLst/>
                <a:ahLst/>
                <a:cxnLst/>
                <a:rect l="l" t="t" r="r" b="b"/>
                <a:pathLst>
                  <a:path w="224715" h="117585" extrusionOk="0">
                    <a:moveTo>
                      <a:pt x="427" y="0"/>
                    </a:moveTo>
                    <a:cubicBezTo>
                      <a:pt x="3943" y="22574"/>
                      <a:pt x="22000" y="28575"/>
                      <a:pt x="40533" y="40291"/>
                    </a:cubicBezTo>
                    <a:cubicBezTo>
                      <a:pt x="66953" y="56769"/>
                      <a:pt x="90332" y="80582"/>
                      <a:pt x="117893" y="94583"/>
                    </a:cubicBezTo>
                    <a:cubicBezTo>
                      <a:pt x="143364" y="107442"/>
                      <a:pt x="206849" y="120301"/>
                      <a:pt x="224716" y="87630"/>
                    </a:cubicBezTo>
                    <a:cubicBezTo>
                      <a:pt x="215212" y="131731"/>
                      <a:pt x="143269" y="117920"/>
                      <a:pt x="115993" y="104013"/>
                    </a:cubicBezTo>
                    <a:cubicBezTo>
                      <a:pt x="88717" y="90107"/>
                      <a:pt x="65908" y="66866"/>
                      <a:pt x="39962" y="50673"/>
                    </a:cubicBezTo>
                    <a:cubicBezTo>
                      <a:pt x="20955" y="39053"/>
                      <a:pt x="2993" y="33052"/>
                      <a:pt x="142" y="9525"/>
                    </a:cubicBezTo>
                    <a:cubicBezTo>
                      <a:pt x="-117" y="6353"/>
                      <a:pt x="-21" y="3153"/>
                      <a:pt x="42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748;p18">
                <a:extLst>
                  <a:ext uri="{FF2B5EF4-FFF2-40B4-BE49-F238E27FC236}">
                    <a16:creationId xmlns:a16="http://schemas.microsoft.com/office/drawing/2014/main" id="{8940B790-1E7A-4540-9BAF-066D73D73AA9}"/>
                  </a:ext>
                </a:extLst>
              </p:cNvPr>
              <p:cNvSpPr/>
              <p:nvPr/>
            </p:nvSpPr>
            <p:spPr>
              <a:xfrm>
                <a:off x="2550431" y="3021675"/>
                <a:ext cx="225586" cy="168802"/>
              </a:xfrm>
              <a:custGeom>
                <a:avLst/>
                <a:gdLst/>
                <a:ahLst/>
                <a:cxnLst/>
                <a:rect l="l" t="t" r="r" b="b"/>
                <a:pathLst>
                  <a:path w="225586" h="168802" extrusionOk="0">
                    <a:moveTo>
                      <a:pt x="21626" y="130"/>
                    </a:moveTo>
                    <a:cubicBezTo>
                      <a:pt x="48617" y="22228"/>
                      <a:pt x="96040" y="-1965"/>
                      <a:pt x="97656" y="130"/>
                    </a:cubicBezTo>
                    <a:cubicBezTo>
                      <a:pt x="125867" y="28715"/>
                      <a:pt x="155661" y="55680"/>
                      <a:pt x="186897" y="80902"/>
                    </a:cubicBezTo>
                    <a:cubicBezTo>
                      <a:pt x="203813" y="94237"/>
                      <a:pt x="230139" y="111954"/>
                      <a:pt x="224912" y="137576"/>
                    </a:cubicBezTo>
                    <a:cubicBezTo>
                      <a:pt x="216358" y="183296"/>
                      <a:pt x="143369" y="169199"/>
                      <a:pt x="115808" y="155197"/>
                    </a:cubicBezTo>
                    <a:cubicBezTo>
                      <a:pt x="88247" y="141196"/>
                      <a:pt x="65723" y="118050"/>
                      <a:pt x="39778" y="101857"/>
                    </a:cubicBezTo>
                    <a:cubicBezTo>
                      <a:pt x="20770" y="90237"/>
                      <a:pt x="2903" y="84236"/>
                      <a:pt x="52" y="60709"/>
                    </a:cubicBezTo>
                    <a:cubicBezTo>
                      <a:pt x="-1088" y="46517"/>
                      <a:pt x="16779" y="-441"/>
                      <a:pt x="21626" y="130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" name="Google Shape;749;p18">
                <a:extLst>
                  <a:ext uri="{FF2B5EF4-FFF2-40B4-BE49-F238E27FC236}">
                    <a16:creationId xmlns:a16="http://schemas.microsoft.com/office/drawing/2014/main" id="{4C390190-8A0E-4DE1-8D71-E00BA822B931}"/>
                  </a:ext>
                </a:extLst>
              </p:cNvPr>
              <p:cNvSpPr/>
              <p:nvPr/>
            </p:nvSpPr>
            <p:spPr>
              <a:xfrm>
                <a:off x="2551534" y="3076575"/>
                <a:ext cx="224758" cy="117584"/>
              </a:xfrm>
              <a:custGeom>
                <a:avLst/>
                <a:gdLst/>
                <a:ahLst/>
                <a:cxnLst/>
                <a:rect l="l" t="t" r="r" b="b"/>
                <a:pathLst>
                  <a:path w="224758" h="117584" extrusionOk="0">
                    <a:moveTo>
                      <a:pt x="375" y="0"/>
                    </a:moveTo>
                    <a:cubicBezTo>
                      <a:pt x="3986" y="22574"/>
                      <a:pt x="22043" y="28575"/>
                      <a:pt x="40481" y="40291"/>
                    </a:cubicBezTo>
                    <a:cubicBezTo>
                      <a:pt x="66996" y="56769"/>
                      <a:pt x="90375" y="80581"/>
                      <a:pt x="117841" y="94583"/>
                    </a:cubicBezTo>
                    <a:cubicBezTo>
                      <a:pt x="143312" y="107442"/>
                      <a:pt x="206892" y="120301"/>
                      <a:pt x="224759" y="87630"/>
                    </a:cubicBezTo>
                    <a:cubicBezTo>
                      <a:pt x="215255" y="131731"/>
                      <a:pt x="143217" y="117920"/>
                      <a:pt x="115941" y="104013"/>
                    </a:cubicBezTo>
                    <a:cubicBezTo>
                      <a:pt x="88665" y="90106"/>
                      <a:pt x="65951" y="66865"/>
                      <a:pt x="39910" y="50673"/>
                    </a:cubicBezTo>
                    <a:cubicBezTo>
                      <a:pt x="21378" y="39053"/>
                      <a:pt x="3036" y="33052"/>
                      <a:pt x="185" y="9525"/>
                    </a:cubicBezTo>
                    <a:cubicBezTo>
                      <a:pt x="-114" y="6353"/>
                      <a:pt x="-50" y="3153"/>
                      <a:pt x="375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" name="Google Shape;750;p18">
                <a:extLst>
                  <a:ext uri="{FF2B5EF4-FFF2-40B4-BE49-F238E27FC236}">
                    <a16:creationId xmlns:a16="http://schemas.microsoft.com/office/drawing/2014/main" id="{3CB59CDA-6E3C-49AE-BE9D-1B76D0B19E31}"/>
                  </a:ext>
                </a:extLst>
              </p:cNvPr>
              <p:cNvSpPr/>
              <p:nvPr/>
            </p:nvSpPr>
            <p:spPr>
              <a:xfrm>
                <a:off x="2330724" y="2010537"/>
                <a:ext cx="387976" cy="1115665"/>
              </a:xfrm>
              <a:custGeom>
                <a:avLst/>
                <a:gdLst/>
                <a:ahLst/>
                <a:cxnLst/>
                <a:rect l="l" t="t" r="r" b="b"/>
                <a:pathLst>
                  <a:path w="387976" h="1115665" extrusionOk="0">
                    <a:moveTo>
                      <a:pt x="4689" y="96964"/>
                    </a:moveTo>
                    <a:cubicBezTo>
                      <a:pt x="6019" y="138017"/>
                      <a:pt x="18754" y="316039"/>
                      <a:pt x="24456" y="410623"/>
                    </a:cubicBezTo>
                    <a:cubicBezTo>
                      <a:pt x="30159" y="505206"/>
                      <a:pt x="31489" y="620173"/>
                      <a:pt x="31489" y="620173"/>
                    </a:cubicBezTo>
                    <a:cubicBezTo>
                      <a:pt x="31489" y="620173"/>
                      <a:pt x="15238" y="688943"/>
                      <a:pt x="4689" y="769715"/>
                    </a:cubicBezTo>
                    <a:cubicBezTo>
                      <a:pt x="-5861" y="850487"/>
                      <a:pt x="4689" y="1105472"/>
                      <a:pt x="4689" y="1105472"/>
                    </a:cubicBezTo>
                    <a:cubicBezTo>
                      <a:pt x="25827" y="1119064"/>
                      <a:pt x="52928" y="1119064"/>
                      <a:pt x="74066" y="1105472"/>
                    </a:cubicBezTo>
                    <a:cubicBezTo>
                      <a:pt x="74066" y="1105472"/>
                      <a:pt x="117403" y="901446"/>
                      <a:pt x="137456" y="809530"/>
                    </a:cubicBezTo>
                    <a:cubicBezTo>
                      <a:pt x="157509" y="717614"/>
                      <a:pt x="161026" y="664559"/>
                      <a:pt x="171480" y="607600"/>
                    </a:cubicBezTo>
                    <a:cubicBezTo>
                      <a:pt x="184025" y="538639"/>
                      <a:pt x="211206" y="217075"/>
                      <a:pt x="211206" y="217075"/>
                    </a:cubicBezTo>
                    <a:lnTo>
                      <a:pt x="222040" y="217742"/>
                    </a:lnTo>
                    <a:lnTo>
                      <a:pt x="250551" y="580930"/>
                    </a:lnTo>
                    <a:cubicBezTo>
                      <a:pt x="241642" y="607685"/>
                      <a:pt x="235526" y="635299"/>
                      <a:pt x="232304" y="663321"/>
                    </a:cubicBezTo>
                    <a:cubicBezTo>
                      <a:pt x="224416" y="722471"/>
                      <a:pt x="240573" y="1020127"/>
                      <a:pt x="240573" y="1020127"/>
                    </a:cubicBezTo>
                    <a:cubicBezTo>
                      <a:pt x="264164" y="1033272"/>
                      <a:pt x="293106" y="1032091"/>
                      <a:pt x="315557" y="1017079"/>
                    </a:cubicBezTo>
                    <a:cubicBezTo>
                      <a:pt x="315557" y="1017079"/>
                      <a:pt x="387976" y="622840"/>
                      <a:pt x="387976" y="562832"/>
                    </a:cubicBezTo>
                    <a:cubicBezTo>
                      <a:pt x="387976" y="523208"/>
                      <a:pt x="381229" y="0"/>
                      <a:pt x="381229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" name="Google Shape;751;p18">
                <a:extLst>
                  <a:ext uri="{FF2B5EF4-FFF2-40B4-BE49-F238E27FC236}">
                    <a16:creationId xmlns:a16="http://schemas.microsoft.com/office/drawing/2014/main" id="{3C5336D5-E12B-4541-8687-5C11ABA25D80}"/>
                  </a:ext>
                </a:extLst>
              </p:cNvPr>
              <p:cNvSpPr/>
              <p:nvPr/>
            </p:nvSpPr>
            <p:spPr>
              <a:xfrm>
                <a:off x="2382705" y="1314450"/>
                <a:ext cx="248692" cy="242377"/>
              </a:xfrm>
              <a:custGeom>
                <a:avLst/>
                <a:gdLst/>
                <a:ahLst/>
                <a:cxnLst/>
                <a:rect l="l" t="t" r="r" b="b"/>
                <a:pathLst>
                  <a:path w="248692" h="242377" extrusionOk="0">
                    <a:moveTo>
                      <a:pt x="50881" y="0"/>
                    </a:moveTo>
                    <a:cubicBezTo>
                      <a:pt x="50881" y="0"/>
                      <a:pt x="55538" y="89440"/>
                      <a:pt x="53542" y="97346"/>
                    </a:cubicBezTo>
                    <a:cubicBezTo>
                      <a:pt x="51546" y="105251"/>
                      <a:pt x="12486" y="131540"/>
                      <a:pt x="1176" y="140970"/>
                    </a:cubicBezTo>
                    <a:cubicBezTo>
                      <a:pt x="-10133" y="150400"/>
                      <a:pt x="62951" y="222599"/>
                      <a:pt x="98400" y="238887"/>
                    </a:cubicBezTo>
                    <a:cubicBezTo>
                      <a:pt x="133849" y="255175"/>
                      <a:pt x="246564" y="212217"/>
                      <a:pt x="248560" y="156782"/>
                    </a:cubicBezTo>
                    <a:cubicBezTo>
                      <a:pt x="250556" y="101346"/>
                      <a:pt x="229552" y="54769"/>
                      <a:pt x="211970" y="52006"/>
                    </a:cubicBezTo>
                    <a:cubicBezTo>
                      <a:pt x="194388" y="49244"/>
                      <a:pt x="50881" y="0"/>
                      <a:pt x="50881" y="0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" name="Google Shape;752;p18">
                <a:extLst>
                  <a:ext uri="{FF2B5EF4-FFF2-40B4-BE49-F238E27FC236}">
                    <a16:creationId xmlns:a16="http://schemas.microsoft.com/office/drawing/2014/main" id="{8A9FAC38-75CB-4803-ABD4-D52F69123CA6}"/>
                  </a:ext>
                </a:extLst>
              </p:cNvPr>
              <p:cNvSpPr/>
              <p:nvPr/>
            </p:nvSpPr>
            <p:spPr>
              <a:xfrm>
                <a:off x="2671394" y="1371981"/>
                <a:ext cx="353519" cy="695039"/>
              </a:xfrm>
              <a:custGeom>
                <a:avLst/>
                <a:gdLst/>
                <a:ahLst/>
                <a:cxnLst/>
                <a:rect l="l" t="t" r="r" b="b"/>
                <a:pathLst>
                  <a:path w="353519" h="695039" extrusionOk="0">
                    <a:moveTo>
                      <a:pt x="6725" y="108394"/>
                    </a:moveTo>
                    <a:cubicBezTo>
                      <a:pt x="11952" y="68961"/>
                      <a:pt x="-13993" y="31432"/>
                      <a:pt x="11192" y="0"/>
                    </a:cubicBezTo>
                    <a:cubicBezTo>
                      <a:pt x="99292" y="86582"/>
                      <a:pt x="88077" y="315754"/>
                      <a:pt x="108130" y="462344"/>
                    </a:cubicBezTo>
                    <a:cubicBezTo>
                      <a:pt x="173516" y="530924"/>
                      <a:pt x="305049" y="598456"/>
                      <a:pt x="342114" y="614744"/>
                    </a:cubicBezTo>
                    <a:cubicBezTo>
                      <a:pt x="348861" y="617791"/>
                      <a:pt x="354659" y="621030"/>
                      <a:pt x="353328" y="628364"/>
                    </a:cubicBezTo>
                    <a:cubicBezTo>
                      <a:pt x="348006" y="656939"/>
                      <a:pt x="339738" y="667798"/>
                      <a:pt x="322726" y="695039"/>
                    </a:cubicBezTo>
                    <a:cubicBezTo>
                      <a:pt x="235671" y="657415"/>
                      <a:pt x="172946" y="635794"/>
                      <a:pt x="64223" y="532257"/>
                    </a:cubicBezTo>
                    <a:cubicBezTo>
                      <a:pt x="53909" y="521094"/>
                      <a:pt x="44680" y="508978"/>
                      <a:pt x="36662" y="496062"/>
                    </a:cubicBezTo>
                    <a:cubicBezTo>
                      <a:pt x="5584" y="403479"/>
                      <a:pt x="-2209" y="176498"/>
                      <a:pt x="6725" y="10839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" name="Google Shape;753;p18">
                <a:extLst>
                  <a:ext uri="{FF2B5EF4-FFF2-40B4-BE49-F238E27FC236}">
                    <a16:creationId xmlns:a16="http://schemas.microsoft.com/office/drawing/2014/main" id="{33A913E3-AC4F-413E-8B76-B4FB5A49A84A}"/>
                  </a:ext>
                </a:extLst>
              </p:cNvPr>
              <p:cNvSpPr/>
              <p:nvPr/>
            </p:nvSpPr>
            <p:spPr>
              <a:xfrm>
                <a:off x="2315965" y="1348763"/>
                <a:ext cx="403432" cy="814679"/>
              </a:xfrm>
              <a:custGeom>
                <a:avLst/>
                <a:gdLst/>
                <a:ahLst/>
                <a:cxnLst/>
                <a:rect l="l" t="t" r="r" b="b"/>
                <a:pathLst>
                  <a:path w="403432" h="814679" extrusionOk="0">
                    <a:moveTo>
                      <a:pt x="107642" y="78462"/>
                    </a:moveTo>
                    <a:cubicBezTo>
                      <a:pt x="107642" y="78462"/>
                      <a:pt x="172458" y="175236"/>
                      <a:pt x="262839" y="184761"/>
                    </a:cubicBezTo>
                    <a:cubicBezTo>
                      <a:pt x="291351" y="156186"/>
                      <a:pt x="293917" y="56364"/>
                      <a:pt x="254476" y="24360"/>
                    </a:cubicBezTo>
                    <a:cubicBezTo>
                      <a:pt x="254476" y="24360"/>
                      <a:pt x="290780" y="-4977"/>
                      <a:pt x="315585" y="738"/>
                    </a:cubicBezTo>
                    <a:cubicBezTo>
                      <a:pt x="342222" y="16921"/>
                      <a:pt x="362057" y="42286"/>
                      <a:pt x="371373" y="72081"/>
                    </a:cubicBezTo>
                    <a:cubicBezTo>
                      <a:pt x="394367" y="138651"/>
                      <a:pt x="405154" y="208831"/>
                      <a:pt x="403210" y="279249"/>
                    </a:cubicBezTo>
                    <a:cubicBezTo>
                      <a:pt x="401690" y="374499"/>
                      <a:pt x="403210" y="664250"/>
                      <a:pt x="403210" y="664250"/>
                    </a:cubicBezTo>
                    <a:cubicBezTo>
                      <a:pt x="403210" y="664250"/>
                      <a:pt x="390570" y="725591"/>
                      <a:pt x="308838" y="771216"/>
                    </a:cubicBezTo>
                    <a:cubicBezTo>
                      <a:pt x="227105" y="816840"/>
                      <a:pt x="166281" y="821317"/>
                      <a:pt x="110874" y="808363"/>
                    </a:cubicBezTo>
                    <a:cubicBezTo>
                      <a:pt x="65065" y="797695"/>
                      <a:pt x="27240" y="781503"/>
                      <a:pt x="11559" y="748260"/>
                    </a:cubicBezTo>
                    <a:cubicBezTo>
                      <a:pt x="15646" y="681585"/>
                      <a:pt x="45298" y="508040"/>
                      <a:pt x="34178" y="424410"/>
                    </a:cubicBezTo>
                    <a:cubicBezTo>
                      <a:pt x="23059" y="340781"/>
                      <a:pt x="5667" y="278202"/>
                      <a:pt x="915" y="210574"/>
                    </a:cubicBezTo>
                    <a:cubicBezTo>
                      <a:pt x="-3837" y="142947"/>
                      <a:pt x="9848" y="143899"/>
                      <a:pt x="43682" y="120182"/>
                    </a:cubicBezTo>
                    <a:cubicBezTo>
                      <a:pt x="63986" y="104770"/>
                      <a:pt x="85361" y="90826"/>
                      <a:pt x="107642" y="78462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" name="Google Shape;754;p18">
                <a:extLst>
                  <a:ext uri="{FF2B5EF4-FFF2-40B4-BE49-F238E27FC236}">
                    <a16:creationId xmlns:a16="http://schemas.microsoft.com/office/drawing/2014/main" id="{B829221F-D123-4E7B-961D-FB6D1A48B6A8}"/>
                  </a:ext>
                </a:extLst>
              </p:cNvPr>
              <p:cNvSpPr/>
              <p:nvPr/>
            </p:nvSpPr>
            <p:spPr>
              <a:xfrm>
                <a:off x="2373403" y="1062776"/>
                <a:ext cx="268166" cy="327122"/>
              </a:xfrm>
              <a:custGeom>
                <a:avLst/>
                <a:gdLst/>
                <a:ahLst/>
                <a:cxnLst/>
                <a:rect l="l" t="t" r="r" b="b"/>
                <a:pathLst>
                  <a:path w="268166" h="327122" extrusionOk="0">
                    <a:moveTo>
                      <a:pt x="262234" y="118324"/>
                    </a:moveTo>
                    <a:lnTo>
                      <a:pt x="262234" y="118324"/>
                    </a:lnTo>
                    <a:cubicBezTo>
                      <a:pt x="251590" y="48886"/>
                      <a:pt x="201695" y="-3787"/>
                      <a:pt x="130227" y="214"/>
                    </a:cubicBezTo>
                    <a:cubicBezTo>
                      <a:pt x="54204" y="4462"/>
                      <a:pt x="-3996" y="69658"/>
                      <a:pt x="215" y="145851"/>
                    </a:cubicBezTo>
                    <a:cubicBezTo>
                      <a:pt x="2583" y="188590"/>
                      <a:pt x="24775" y="227747"/>
                      <a:pt x="60184" y="251674"/>
                    </a:cubicBezTo>
                    <a:cubicBezTo>
                      <a:pt x="62685" y="262208"/>
                      <a:pt x="66417" y="272400"/>
                      <a:pt x="71303" y="282058"/>
                    </a:cubicBezTo>
                    <a:cubicBezTo>
                      <a:pt x="96488" y="311681"/>
                      <a:pt x="172994" y="329683"/>
                      <a:pt x="194852" y="326826"/>
                    </a:cubicBezTo>
                    <a:cubicBezTo>
                      <a:pt x="223364" y="322825"/>
                      <a:pt x="238380" y="311014"/>
                      <a:pt x="251875" y="280153"/>
                    </a:cubicBezTo>
                    <a:cubicBezTo>
                      <a:pt x="275540" y="225385"/>
                      <a:pt x="268127" y="152518"/>
                      <a:pt x="262234" y="11832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" name="Google Shape;755;p18">
                <a:extLst>
                  <a:ext uri="{FF2B5EF4-FFF2-40B4-BE49-F238E27FC236}">
                    <a16:creationId xmlns:a16="http://schemas.microsoft.com/office/drawing/2014/main" id="{2BECB90F-7159-4E4E-9DFA-2C2FD74BBCE8}"/>
                  </a:ext>
                </a:extLst>
              </p:cNvPr>
              <p:cNvSpPr/>
              <p:nvPr/>
            </p:nvSpPr>
            <p:spPr>
              <a:xfrm>
                <a:off x="2348404" y="1033740"/>
                <a:ext cx="282986" cy="280709"/>
              </a:xfrm>
              <a:custGeom>
                <a:avLst/>
                <a:gdLst/>
                <a:ahLst/>
                <a:cxnLst/>
                <a:rect l="l" t="t" r="r" b="b"/>
                <a:pathLst>
                  <a:path w="282986" h="280709" extrusionOk="0">
                    <a:moveTo>
                      <a:pt x="85182" y="280709"/>
                    </a:moveTo>
                    <a:lnTo>
                      <a:pt x="85182" y="280709"/>
                    </a:lnTo>
                    <a:lnTo>
                      <a:pt x="91740" y="220130"/>
                    </a:lnTo>
                    <a:cubicBezTo>
                      <a:pt x="91740" y="220130"/>
                      <a:pt x="41940" y="91733"/>
                      <a:pt x="159122" y="116403"/>
                    </a:cubicBezTo>
                    <a:cubicBezTo>
                      <a:pt x="236102" y="132595"/>
                      <a:pt x="255490" y="139644"/>
                      <a:pt x="278964" y="87828"/>
                    </a:cubicBezTo>
                    <a:cubicBezTo>
                      <a:pt x="302439" y="36012"/>
                      <a:pt x="219661" y="-10565"/>
                      <a:pt x="121487" y="2103"/>
                    </a:cubicBezTo>
                    <a:cubicBezTo>
                      <a:pt x="51379" y="9511"/>
                      <a:pt x="-1397" y="69481"/>
                      <a:pt x="28" y="140120"/>
                    </a:cubicBezTo>
                    <a:cubicBezTo>
                      <a:pt x="2594" y="178506"/>
                      <a:pt x="12763" y="255658"/>
                      <a:pt x="85182" y="280709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" name="Google Shape;756;p18">
                <a:extLst>
                  <a:ext uri="{FF2B5EF4-FFF2-40B4-BE49-F238E27FC236}">
                    <a16:creationId xmlns:a16="http://schemas.microsoft.com/office/drawing/2014/main" id="{B2E04116-EA04-44CB-894C-EEBFBAF617C6}"/>
                  </a:ext>
                </a:extLst>
              </p:cNvPr>
              <p:cNvSpPr/>
              <p:nvPr/>
            </p:nvSpPr>
            <p:spPr>
              <a:xfrm>
                <a:off x="2295460" y="1509426"/>
                <a:ext cx="362138" cy="623316"/>
              </a:xfrm>
              <a:custGeom>
                <a:avLst/>
                <a:gdLst/>
                <a:ahLst/>
                <a:cxnLst/>
                <a:rect l="l" t="t" r="r" b="b"/>
                <a:pathLst>
                  <a:path w="362138" h="623316" extrusionOk="0">
                    <a:moveTo>
                      <a:pt x="1462" y="9525"/>
                    </a:moveTo>
                    <a:cubicBezTo>
                      <a:pt x="35295" y="0"/>
                      <a:pt x="9540" y="7906"/>
                      <a:pt x="35295" y="0"/>
                    </a:cubicBezTo>
                    <a:cubicBezTo>
                      <a:pt x="123395" y="86678"/>
                      <a:pt x="112466" y="235077"/>
                      <a:pt x="132424" y="381762"/>
                    </a:cubicBezTo>
                    <a:cubicBezTo>
                      <a:pt x="181083" y="462343"/>
                      <a:pt x="361655" y="571595"/>
                      <a:pt x="361655" y="571595"/>
                    </a:cubicBezTo>
                    <a:cubicBezTo>
                      <a:pt x="363936" y="587216"/>
                      <a:pt x="358424" y="591788"/>
                      <a:pt x="338941" y="623316"/>
                    </a:cubicBezTo>
                    <a:cubicBezTo>
                      <a:pt x="251982" y="585692"/>
                      <a:pt x="179088" y="553212"/>
                      <a:pt x="70364" y="449771"/>
                    </a:cubicBezTo>
                    <a:cubicBezTo>
                      <a:pt x="66088" y="445675"/>
                      <a:pt x="59815" y="444627"/>
                      <a:pt x="58009" y="439007"/>
                    </a:cubicBezTo>
                    <a:cubicBezTo>
                      <a:pt x="26932" y="345376"/>
                      <a:pt x="-7567" y="77724"/>
                      <a:pt x="1462" y="9525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757;p18">
                <a:extLst>
                  <a:ext uri="{FF2B5EF4-FFF2-40B4-BE49-F238E27FC236}">
                    <a16:creationId xmlns:a16="http://schemas.microsoft.com/office/drawing/2014/main" id="{D663DCB4-6166-45D4-91D8-685641F35F47}"/>
                  </a:ext>
                </a:extLst>
              </p:cNvPr>
              <p:cNvSpPr/>
              <p:nvPr/>
            </p:nvSpPr>
            <p:spPr>
              <a:xfrm>
                <a:off x="2681160" y="1699641"/>
                <a:ext cx="419212" cy="565118"/>
              </a:xfrm>
              <a:custGeom>
                <a:avLst/>
                <a:gdLst/>
                <a:ahLst/>
                <a:cxnLst/>
                <a:rect l="l" t="t" r="r" b="b"/>
                <a:pathLst>
                  <a:path w="419212" h="565118" extrusionOk="0">
                    <a:moveTo>
                      <a:pt x="419212" y="0"/>
                    </a:moveTo>
                    <a:lnTo>
                      <a:pt x="287965" y="449771"/>
                    </a:lnTo>
                    <a:lnTo>
                      <a:pt x="0" y="565118"/>
                    </a:lnTo>
                    <a:lnTo>
                      <a:pt x="105017" y="126968"/>
                    </a:lnTo>
                    <a:lnTo>
                      <a:pt x="419212" y="0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" name="Google Shape;758;p18">
                <a:extLst>
                  <a:ext uri="{FF2B5EF4-FFF2-40B4-BE49-F238E27FC236}">
                    <a16:creationId xmlns:a16="http://schemas.microsoft.com/office/drawing/2014/main" id="{88D2EEA4-3420-4D8B-9812-D1FB082854ED}"/>
                  </a:ext>
                </a:extLst>
              </p:cNvPr>
              <p:cNvSpPr/>
              <p:nvPr/>
            </p:nvSpPr>
            <p:spPr>
              <a:xfrm>
                <a:off x="2608827" y="2053875"/>
                <a:ext cx="212446" cy="104783"/>
              </a:xfrm>
              <a:custGeom>
                <a:avLst/>
                <a:gdLst/>
                <a:ahLst/>
                <a:cxnLst/>
                <a:rect l="l" t="t" r="r" b="b"/>
                <a:pathLst>
                  <a:path w="212446" h="104783" extrusionOk="0">
                    <a:moveTo>
                      <a:pt x="2861" y="30194"/>
                    </a:moveTo>
                    <a:cubicBezTo>
                      <a:pt x="7137" y="14859"/>
                      <a:pt x="18257" y="18669"/>
                      <a:pt x="30707" y="22479"/>
                    </a:cubicBezTo>
                    <a:cubicBezTo>
                      <a:pt x="44209" y="27956"/>
                      <a:pt x="59041" y="29251"/>
                      <a:pt x="73284" y="26194"/>
                    </a:cubicBezTo>
                    <a:cubicBezTo>
                      <a:pt x="85164" y="22479"/>
                      <a:pt x="93717" y="12287"/>
                      <a:pt x="103791" y="5525"/>
                    </a:cubicBezTo>
                    <a:cubicBezTo>
                      <a:pt x="109552" y="2086"/>
                      <a:pt x="116096" y="181"/>
                      <a:pt x="122799" y="0"/>
                    </a:cubicBezTo>
                    <a:cubicBezTo>
                      <a:pt x="122228" y="3905"/>
                      <a:pt x="116241" y="26765"/>
                      <a:pt x="116241" y="26765"/>
                    </a:cubicBezTo>
                    <a:cubicBezTo>
                      <a:pt x="116241" y="26765"/>
                      <a:pt x="179346" y="27432"/>
                      <a:pt x="185809" y="26098"/>
                    </a:cubicBezTo>
                    <a:cubicBezTo>
                      <a:pt x="191634" y="25308"/>
                      <a:pt x="196997" y="29394"/>
                      <a:pt x="197789" y="35233"/>
                    </a:cubicBezTo>
                    <a:cubicBezTo>
                      <a:pt x="198199" y="38252"/>
                      <a:pt x="197297" y="41310"/>
                      <a:pt x="195312" y="43625"/>
                    </a:cubicBezTo>
                    <a:lnTo>
                      <a:pt x="199589" y="42958"/>
                    </a:lnTo>
                    <a:cubicBezTo>
                      <a:pt x="212514" y="40100"/>
                      <a:pt x="218027" y="59912"/>
                      <a:pt x="205006" y="62865"/>
                    </a:cubicBezTo>
                    <a:cubicBezTo>
                      <a:pt x="201585" y="63627"/>
                      <a:pt x="198069" y="64008"/>
                      <a:pt x="194457" y="64484"/>
                    </a:cubicBezTo>
                    <a:cubicBezTo>
                      <a:pt x="202915" y="67723"/>
                      <a:pt x="205006" y="81725"/>
                      <a:pt x="194457" y="83534"/>
                    </a:cubicBezTo>
                    <a:lnTo>
                      <a:pt x="191226" y="84106"/>
                    </a:lnTo>
                    <a:cubicBezTo>
                      <a:pt x="189741" y="84668"/>
                      <a:pt x="188151" y="84896"/>
                      <a:pt x="186569" y="84772"/>
                    </a:cubicBezTo>
                    <a:lnTo>
                      <a:pt x="184573" y="84772"/>
                    </a:lnTo>
                    <a:cubicBezTo>
                      <a:pt x="185790" y="90916"/>
                      <a:pt x="181809" y="96879"/>
                      <a:pt x="175683" y="98098"/>
                    </a:cubicBezTo>
                    <a:cubicBezTo>
                      <a:pt x="175480" y="98136"/>
                      <a:pt x="175275" y="98174"/>
                      <a:pt x="175069" y="98203"/>
                    </a:cubicBezTo>
                    <a:cubicBezTo>
                      <a:pt x="144277" y="102298"/>
                      <a:pt x="99039" y="114586"/>
                      <a:pt x="71098" y="89154"/>
                    </a:cubicBezTo>
                    <a:cubicBezTo>
                      <a:pt x="51763" y="87239"/>
                      <a:pt x="32878" y="82124"/>
                      <a:pt x="15216" y="74009"/>
                    </a:cubicBezTo>
                    <a:cubicBezTo>
                      <a:pt x="-1796" y="65913"/>
                      <a:pt x="-2271" y="48577"/>
                      <a:pt x="2861" y="30194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" name="Google Shape;759;p18">
                <a:extLst>
                  <a:ext uri="{FF2B5EF4-FFF2-40B4-BE49-F238E27FC236}">
                    <a16:creationId xmlns:a16="http://schemas.microsoft.com/office/drawing/2014/main" id="{445FBDFE-D4D9-4934-ACC7-07CBF837C9B9}"/>
                  </a:ext>
                </a:extLst>
              </p:cNvPr>
              <p:cNvSpPr/>
              <p:nvPr/>
            </p:nvSpPr>
            <p:spPr>
              <a:xfrm>
                <a:off x="2916099" y="1987646"/>
                <a:ext cx="131568" cy="109091"/>
              </a:xfrm>
              <a:custGeom>
                <a:avLst/>
                <a:gdLst/>
                <a:ahLst/>
                <a:cxnLst/>
                <a:rect l="l" t="t" r="r" b="b"/>
                <a:pathLst>
                  <a:path w="131568" h="109091" extrusionOk="0">
                    <a:moveTo>
                      <a:pt x="10639" y="59657"/>
                    </a:moveTo>
                    <a:lnTo>
                      <a:pt x="14916" y="59657"/>
                    </a:lnTo>
                    <a:cubicBezTo>
                      <a:pt x="10289" y="56028"/>
                      <a:pt x="9476" y="49322"/>
                      <a:pt x="13102" y="44683"/>
                    </a:cubicBezTo>
                    <a:cubicBezTo>
                      <a:pt x="14995" y="42255"/>
                      <a:pt x="17838" y="40778"/>
                      <a:pt x="20903" y="40607"/>
                    </a:cubicBezTo>
                    <a:cubicBezTo>
                      <a:pt x="27556" y="40607"/>
                      <a:pt x="92467" y="26986"/>
                      <a:pt x="92467" y="26986"/>
                    </a:cubicBezTo>
                    <a:lnTo>
                      <a:pt x="100260" y="221"/>
                    </a:lnTo>
                    <a:cubicBezTo>
                      <a:pt x="100260" y="-1303"/>
                      <a:pt x="111569" y="5555"/>
                      <a:pt x="111950" y="5840"/>
                    </a:cubicBezTo>
                    <a:cubicBezTo>
                      <a:pt x="123082" y="13146"/>
                      <a:pt x="130288" y="25138"/>
                      <a:pt x="131527" y="38416"/>
                    </a:cubicBezTo>
                    <a:cubicBezTo>
                      <a:pt x="132163" y="57028"/>
                      <a:pt x="125315" y="75116"/>
                      <a:pt x="112520" y="88613"/>
                    </a:cubicBezTo>
                    <a:cubicBezTo>
                      <a:pt x="100854" y="100414"/>
                      <a:pt x="85087" y="107244"/>
                      <a:pt x="68517" y="107663"/>
                    </a:cubicBezTo>
                    <a:cubicBezTo>
                      <a:pt x="60629" y="108139"/>
                      <a:pt x="53026" y="108520"/>
                      <a:pt x="46279" y="109092"/>
                    </a:cubicBezTo>
                    <a:cubicBezTo>
                      <a:pt x="40033" y="109092"/>
                      <a:pt x="34969" y="104015"/>
                      <a:pt x="34969" y="97757"/>
                    </a:cubicBezTo>
                    <a:cubicBezTo>
                      <a:pt x="34969" y="97728"/>
                      <a:pt x="34969" y="97690"/>
                      <a:pt x="34969" y="97661"/>
                    </a:cubicBezTo>
                    <a:lnTo>
                      <a:pt x="32973" y="97661"/>
                    </a:lnTo>
                    <a:cubicBezTo>
                      <a:pt x="31442" y="98023"/>
                      <a:pt x="29847" y="98023"/>
                      <a:pt x="28316" y="97661"/>
                    </a:cubicBezTo>
                    <a:lnTo>
                      <a:pt x="24990" y="97661"/>
                    </a:lnTo>
                    <a:cubicBezTo>
                      <a:pt x="13966" y="97661"/>
                      <a:pt x="13110" y="83946"/>
                      <a:pt x="20618" y="78611"/>
                    </a:cubicBezTo>
                    <a:cubicBezTo>
                      <a:pt x="17102" y="78611"/>
                      <a:pt x="13490" y="79278"/>
                      <a:pt x="9974" y="79278"/>
                    </a:cubicBezTo>
                    <a:cubicBezTo>
                      <a:pt x="-3806" y="80135"/>
                      <a:pt x="-3046" y="59561"/>
                      <a:pt x="10639" y="59657"/>
                    </a:cubicBezTo>
                    <a:close/>
                  </a:path>
                </a:pathLst>
              </a:custGeom>
              <a:solidFill>
                <a:srgbClr val="DFAE8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" name="Google Shape;760;p18">
                <a:extLst>
                  <a:ext uri="{FF2B5EF4-FFF2-40B4-BE49-F238E27FC236}">
                    <a16:creationId xmlns:a16="http://schemas.microsoft.com/office/drawing/2014/main" id="{CD2F2629-373C-4F61-A811-51DC5B4C026D}"/>
                  </a:ext>
                </a:extLst>
              </p:cNvPr>
              <p:cNvSpPr/>
              <p:nvPr/>
            </p:nvSpPr>
            <p:spPr>
              <a:xfrm>
                <a:off x="2631550" y="1349025"/>
                <a:ext cx="130391" cy="190023"/>
              </a:xfrm>
              <a:custGeom>
                <a:avLst/>
                <a:gdLst/>
                <a:ahLst/>
                <a:cxnLst/>
                <a:rect l="l" t="t" r="r" b="b"/>
                <a:pathLst>
                  <a:path w="130391" h="190023" extrusionOk="0">
                    <a:moveTo>
                      <a:pt x="83348" y="190024"/>
                    </a:moveTo>
                    <a:cubicBezTo>
                      <a:pt x="83348" y="190024"/>
                      <a:pt x="116611" y="188309"/>
                      <a:pt x="130392" y="168878"/>
                    </a:cubicBezTo>
                    <a:cubicBezTo>
                      <a:pt x="127826" y="135636"/>
                      <a:pt x="85344" y="9430"/>
                      <a:pt x="0" y="0"/>
                    </a:cubicBezTo>
                    <a:cubicBezTo>
                      <a:pt x="23264" y="16335"/>
                      <a:pt x="41713" y="38643"/>
                      <a:pt x="53411" y="64580"/>
                    </a:cubicBezTo>
                    <a:cubicBezTo>
                      <a:pt x="68902" y="102584"/>
                      <a:pt x="83348" y="190024"/>
                      <a:pt x="83348" y="190024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" name="Google Shape;761;p18">
                <a:extLst>
                  <a:ext uri="{FF2B5EF4-FFF2-40B4-BE49-F238E27FC236}">
                    <a16:creationId xmlns:a16="http://schemas.microsoft.com/office/drawing/2014/main" id="{C30EBA8F-0F64-4526-B5E0-5EDF39356AA0}"/>
                  </a:ext>
                </a:extLst>
              </p:cNvPr>
              <p:cNvSpPr/>
              <p:nvPr/>
            </p:nvSpPr>
            <p:spPr>
              <a:xfrm>
                <a:off x="2269458" y="1478036"/>
                <a:ext cx="157611" cy="236452"/>
              </a:xfrm>
              <a:custGeom>
                <a:avLst/>
                <a:gdLst/>
                <a:ahLst/>
                <a:cxnLst/>
                <a:rect l="l" t="t" r="r" b="b"/>
                <a:pathLst>
                  <a:path w="157611" h="236452" extrusionOk="0">
                    <a:moveTo>
                      <a:pt x="12067" y="227795"/>
                    </a:moveTo>
                    <a:cubicBezTo>
                      <a:pt x="12067" y="227795"/>
                      <a:pt x="97031" y="257132"/>
                      <a:pt x="156905" y="207793"/>
                    </a:cubicBezTo>
                    <a:cubicBezTo>
                      <a:pt x="163463" y="196458"/>
                      <a:pt x="122216" y="51583"/>
                      <a:pt x="122216" y="51583"/>
                    </a:cubicBezTo>
                    <a:cubicBezTo>
                      <a:pt x="122216" y="51583"/>
                      <a:pt x="86577" y="-22522"/>
                      <a:pt x="30790" y="6911"/>
                    </a:cubicBezTo>
                    <a:cubicBezTo>
                      <a:pt x="-24997" y="36343"/>
                      <a:pt x="12067" y="227795"/>
                      <a:pt x="12067" y="227795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" name="Google Shape;762;p18">
                <a:extLst>
                  <a:ext uri="{FF2B5EF4-FFF2-40B4-BE49-F238E27FC236}">
                    <a16:creationId xmlns:a16="http://schemas.microsoft.com/office/drawing/2014/main" id="{32994DFE-9E39-41D2-9508-36F41FE99448}"/>
                  </a:ext>
                </a:extLst>
              </p:cNvPr>
              <p:cNvSpPr/>
              <p:nvPr/>
            </p:nvSpPr>
            <p:spPr>
              <a:xfrm>
                <a:off x="3098756" y="3983831"/>
                <a:ext cx="98079" cy="56769"/>
              </a:xfrm>
              <a:custGeom>
                <a:avLst/>
                <a:gdLst/>
                <a:ahLst/>
                <a:cxnLst/>
                <a:rect l="l" t="t" r="r" b="b"/>
                <a:pathLst>
                  <a:path w="98079" h="56769" extrusionOk="0">
                    <a:moveTo>
                      <a:pt x="98079" y="28385"/>
                    </a:moveTo>
                    <a:cubicBezTo>
                      <a:pt x="98079" y="44061"/>
                      <a:pt x="76123" y="56769"/>
                      <a:pt x="49040" y="56769"/>
                    </a:cubicBezTo>
                    <a:cubicBezTo>
                      <a:pt x="21956" y="56769"/>
                      <a:pt x="0" y="44061"/>
                      <a:pt x="0" y="28385"/>
                    </a:cubicBezTo>
                    <a:cubicBezTo>
                      <a:pt x="0" y="12708"/>
                      <a:pt x="21956" y="0"/>
                      <a:pt x="49040" y="0"/>
                    </a:cubicBezTo>
                    <a:cubicBezTo>
                      <a:pt x="76123" y="0"/>
                      <a:pt x="98079" y="12708"/>
                      <a:pt x="98079" y="28385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" name="Google Shape;763;p18">
                <a:extLst>
                  <a:ext uri="{FF2B5EF4-FFF2-40B4-BE49-F238E27FC236}">
                    <a16:creationId xmlns:a16="http://schemas.microsoft.com/office/drawing/2014/main" id="{168EA958-69E8-4649-BF2C-1B346C191ACD}"/>
                  </a:ext>
                </a:extLst>
              </p:cNvPr>
              <p:cNvSpPr/>
              <p:nvPr/>
            </p:nvSpPr>
            <p:spPr>
              <a:xfrm>
                <a:off x="4017202" y="4508754"/>
                <a:ext cx="98079" cy="56769"/>
              </a:xfrm>
              <a:custGeom>
                <a:avLst/>
                <a:gdLst/>
                <a:ahLst/>
                <a:cxnLst/>
                <a:rect l="l" t="t" r="r" b="b"/>
                <a:pathLst>
                  <a:path w="98079" h="56769" extrusionOk="0">
                    <a:moveTo>
                      <a:pt x="98079" y="28384"/>
                    </a:moveTo>
                    <a:cubicBezTo>
                      <a:pt x="98079" y="44061"/>
                      <a:pt x="76123" y="56769"/>
                      <a:pt x="49040" y="56769"/>
                    </a:cubicBezTo>
                    <a:cubicBezTo>
                      <a:pt x="21956" y="56769"/>
                      <a:pt x="0" y="44061"/>
                      <a:pt x="0" y="28384"/>
                    </a:cubicBezTo>
                    <a:cubicBezTo>
                      <a:pt x="0" y="12708"/>
                      <a:pt x="21956" y="0"/>
                      <a:pt x="49040" y="0"/>
                    </a:cubicBezTo>
                    <a:cubicBezTo>
                      <a:pt x="76123" y="0"/>
                      <a:pt x="98079" y="12708"/>
                      <a:pt x="98079" y="28384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" name="Google Shape;764;p18">
                <a:extLst>
                  <a:ext uri="{FF2B5EF4-FFF2-40B4-BE49-F238E27FC236}">
                    <a16:creationId xmlns:a16="http://schemas.microsoft.com/office/drawing/2014/main" id="{0A292BC1-3157-4E39-90AC-430B62547042}"/>
                  </a:ext>
                </a:extLst>
              </p:cNvPr>
              <p:cNvSpPr/>
              <p:nvPr/>
            </p:nvSpPr>
            <p:spPr>
              <a:xfrm>
                <a:off x="5609182" y="3535680"/>
                <a:ext cx="98079" cy="56769"/>
              </a:xfrm>
              <a:custGeom>
                <a:avLst/>
                <a:gdLst/>
                <a:ahLst/>
                <a:cxnLst/>
                <a:rect l="l" t="t" r="r" b="b"/>
                <a:pathLst>
                  <a:path w="98079" h="56769" extrusionOk="0">
                    <a:moveTo>
                      <a:pt x="98079" y="28384"/>
                    </a:moveTo>
                    <a:cubicBezTo>
                      <a:pt x="98079" y="44061"/>
                      <a:pt x="76123" y="56769"/>
                      <a:pt x="49040" y="56769"/>
                    </a:cubicBezTo>
                    <a:cubicBezTo>
                      <a:pt x="21956" y="56769"/>
                      <a:pt x="0" y="44061"/>
                      <a:pt x="0" y="28384"/>
                    </a:cubicBezTo>
                    <a:cubicBezTo>
                      <a:pt x="0" y="12708"/>
                      <a:pt x="21956" y="0"/>
                      <a:pt x="49040" y="0"/>
                    </a:cubicBezTo>
                    <a:cubicBezTo>
                      <a:pt x="76123" y="0"/>
                      <a:pt x="98079" y="12708"/>
                      <a:pt x="98079" y="28384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" name="Google Shape;765;p18">
                <a:extLst>
                  <a:ext uri="{FF2B5EF4-FFF2-40B4-BE49-F238E27FC236}">
                    <a16:creationId xmlns:a16="http://schemas.microsoft.com/office/drawing/2014/main" id="{41213411-8CDA-4F9D-BDA1-78FE84D876DA}"/>
                  </a:ext>
                </a:extLst>
              </p:cNvPr>
              <p:cNvSpPr/>
              <p:nvPr/>
            </p:nvSpPr>
            <p:spPr>
              <a:xfrm>
                <a:off x="3115863" y="3050952"/>
                <a:ext cx="67191" cy="975240"/>
              </a:xfrm>
              <a:custGeom>
                <a:avLst/>
                <a:gdLst/>
                <a:ahLst/>
                <a:cxnLst/>
                <a:rect l="l" t="t" r="r" b="b"/>
                <a:pathLst>
                  <a:path w="67191" h="975240" extrusionOk="0">
                    <a:moveTo>
                      <a:pt x="0" y="0"/>
                    </a:moveTo>
                    <a:lnTo>
                      <a:pt x="0" y="955548"/>
                    </a:lnTo>
                    <a:cubicBezTo>
                      <a:pt x="447" y="961558"/>
                      <a:pt x="4068" y="966864"/>
                      <a:pt x="9504" y="969455"/>
                    </a:cubicBezTo>
                    <a:cubicBezTo>
                      <a:pt x="24643" y="977170"/>
                      <a:pt x="42549" y="977170"/>
                      <a:pt x="57688" y="969455"/>
                    </a:cubicBezTo>
                    <a:cubicBezTo>
                      <a:pt x="63105" y="966854"/>
                      <a:pt x="66726" y="961549"/>
                      <a:pt x="67192" y="955548"/>
                    </a:cubicBezTo>
                    <a:lnTo>
                      <a:pt x="67192" y="955548"/>
                    </a:lnTo>
                    <a:lnTo>
                      <a:pt x="67192" y="0"/>
                    </a:lnTo>
                    <a:close/>
                  </a:path>
                </a:pathLst>
              </a:custGeom>
              <a:solidFill>
                <a:srgbClr val="C1C4D3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" name="Google Shape;766;p18">
                <a:extLst>
                  <a:ext uri="{FF2B5EF4-FFF2-40B4-BE49-F238E27FC236}">
                    <a16:creationId xmlns:a16="http://schemas.microsoft.com/office/drawing/2014/main" id="{C4B62C18-691C-47CC-96DD-E28847208E4A}"/>
                  </a:ext>
                </a:extLst>
              </p:cNvPr>
              <p:cNvSpPr/>
              <p:nvPr/>
            </p:nvSpPr>
            <p:spPr>
              <a:xfrm>
                <a:off x="4036495" y="3422808"/>
                <a:ext cx="59588" cy="1128783"/>
              </a:xfrm>
              <a:custGeom>
                <a:avLst/>
                <a:gdLst/>
                <a:ahLst/>
                <a:cxnLst/>
                <a:rect l="l" t="t" r="r" b="b"/>
                <a:pathLst>
                  <a:path w="59588" h="1128783" extrusionOk="0">
                    <a:moveTo>
                      <a:pt x="0" y="0"/>
                    </a:moveTo>
                    <a:lnTo>
                      <a:pt x="0" y="1108996"/>
                    </a:lnTo>
                    <a:cubicBezTo>
                      <a:pt x="333" y="1114835"/>
                      <a:pt x="3583" y="1120102"/>
                      <a:pt x="8648" y="1122998"/>
                    </a:cubicBezTo>
                    <a:cubicBezTo>
                      <a:pt x="21659" y="1130713"/>
                      <a:pt x="37834" y="1130713"/>
                      <a:pt x="50845" y="1122998"/>
                    </a:cubicBezTo>
                    <a:cubicBezTo>
                      <a:pt x="55930" y="1120111"/>
                      <a:pt x="59218" y="1114844"/>
                      <a:pt x="59589" y="1108996"/>
                    </a:cubicBezTo>
                    <a:lnTo>
                      <a:pt x="59589" y="1108996"/>
                    </a:lnTo>
                    <a:lnTo>
                      <a:pt x="59589" y="0"/>
                    </a:lnTo>
                    <a:close/>
                  </a:path>
                </a:pathLst>
              </a:custGeom>
              <a:solidFill>
                <a:srgbClr val="C1C4D3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" name="Google Shape;767;p18">
                <a:extLst>
                  <a:ext uri="{FF2B5EF4-FFF2-40B4-BE49-F238E27FC236}">
                    <a16:creationId xmlns:a16="http://schemas.microsoft.com/office/drawing/2014/main" id="{ED6036F9-3EC1-413C-BF56-C53DA36BCA19}"/>
                  </a:ext>
                </a:extLst>
              </p:cNvPr>
              <p:cNvSpPr/>
              <p:nvPr/>
            </p:nvSpPr>
            <p:spPr>
              <a:xfrm>
                <a:off x="5628379" y="2652522"/>
                <a:ext cx="59588" cy="923996"/>
              </a:xfrm>
              <a:custGeom>
                <a:avLst/>
                <a:gdLst/>
                <a:ahLst/>
                <a:cxnLst/>
                <a:rect l="l" t="t" r="r" b="b"/>
                <a:pathLst>
                  <a:path w="59588" h="923996" extrusionOk="0">
                    <a:moveTo>
                      <a:pt x="0" y="0"/>
                    </a:moveTo>
                    <a:lnTo>
                      <a:pt x="0" y="904304"/>
                    </a:lnTo>
                    <a:cubicBezTo>
                      <a:pt x="342" y="910133"/>
                      <a:pt x="3649" y="915381"/>
                      <a:pt x="8744" y="918210"/>
                    </a:cubicBezTo>
                    <a:cubicBezTo>
                      <a:pt x="21716" y="925925"/>
                      <a:pt x="37873" y="925925"/>
                      <a:pt x="50845" y="918210"/>
                    </a:cubicBezTo>
                    <a:cubicBezTo>
                      <a:pt x="55939" y="915381"/>
                      <a:pt x="59247" y="910133"/>
                      <a:pt x="59589" y="904304"/>
                    </a:cubicBezTo>
                    <a:lnTo>
                      <a:pt x="59589" y="904304"/>
                    </a:lnTo>
                    <a:lnTo>
                      <a:pt x="59589" y="0"/>
                    </a:lnTo>
                    <a:close/>
                  </a:path>
                </a:pathLst>
              </a:custGeom>
              <a:solidFill>
                <a:srgbClr val="C1C4D3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768;p18">
                <a:extLst>
                  <a:ext uri="{FF2B5EF4-FFF2-40B4-BE49-F238E27FC236}">
                    <a16:creationId xmlns:a16="http://schemas.microsoft.com/office/drawing/2014/main" id="{A9FF6A55-EA07-4FA6-AC66-891F883CC440}"/>
                  </a:ext>
                </a:extLst>
              </p:cNvPr>
              <p:cNvSpPr/>
              <p:nvPr/>
            </p:nvSpPr>
            <p:spPr>
              <a:xfrm>
                <a:off x="3056370" y="3054762"/>
                <a:ext cx="1009872" cy="652653"/>
              </a:xfrm>
              <a:custGeom>
                <a:avLst/>
                <a:gdLst/>
                <a:ahLst/>
                <a:cxnLst/>
                <a:rect l="l" t="t" r="r" b="b"/>
                <a:pathLst>
                  <a:path w="1009872" h="652653" extrusionOk="0">
                    <a:moveTo>
                      <a:pt x="1009872" y="652653"/>
                    </a:moveTo>
                    <a:lnTo>
                      <a:pt x="0" y="68294"/>
                    </a:lnTo>
                    <a:lnTo>
                      <a:pt x="0" y="0"/>
                    </a:lnTo>
                    <a:lnTo>
                      <a:pt x="1009872" y="584454"/>
                    </a:lnTo>
                    <a:lnTo>
                      <a:pt x="1009872" y="652653"/>
                    </a:lnTo>
                    <a:close/>
                  </a:path>
                </a:pathLst>
              </a:custGeom>
              <a:solidFill>
                <a:srgbClr val="B1B4C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" name="Google Shape;769;p18">
                <a:extLst>
                  <a:ext uri="{FF2B5EF4-FFF2-40B4-BE49-F238E27FC236}">
                    <a16:creationId xmlns:a16="http://schemas.microsoft.com/office/drawing/2014/main" id="{394F84B4-DC68-46AE-9A18-587B7BC5B41F}"/>
                  </a:ext>
                </a:extLst>
              </p:cNvPr>
              <p:cNvSpPr/>
              <p:nvPr/>
            </p:nvSpPr>
            <p:spPr>
              <a:xfrm>
                <a:off x="3056084" y="2071592"/>
                <a:ext cx="2712855" cy="1569720"/>
              </a:xfrm>
              <a:custGeom>
                <a:avLst/>
                <a:gdLst/>
                <a:ahLst/>
                <a:cxnLst/>
                <a:rect l="l" t="t" r="r" b="b"/>
                <a:pathLst>
                  <a:path w="2712855" h="1569720" extrusionOk="0">
                    <a:moveTo>
                      <a:pt x="2712856" y="584359"/>
                    </a:moveTo>
                    <a:lnTo>
                      <a:pt x="1009967" y="1569720"/>
                    </a:lnTo>
                    <a:lnTo>
                      <a:pt x="0" y="985361"/>
                    </a:lnTo>
                    <a:lnTo>
                      <a:pt x="1702889" y="0"/>
                    </a:lnTo>
                    <a:lnTo>
                      <a:pt x="2712856" y="584359"/>
                    </a:ln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" name="Google Shape;770;p18">
                <a:extLst>
                  <a:ext uri="{FF2B5EF4-FFF2-40B4-BE49-F238E27FC236}">
                    <a16:creationId xmlns:a16="http://schemas.microsoft.com/office/drawing/2014/main" id="{0A9A805F-3FE7-4CA2-B6DA-8F13B4AB0FCB}"/>
                  </a:ext>
                </a:extLst>
              </p:cNvPr>
              <p:cNvSpPr/>
              <p:nvPr/>
            </p:nvSpPr>
            <p:spPr>
              <a:xfrm>
                <a:off x="4066242" y="2653855"/>
                <a:ext cx="1702888" cy="1053560"/>
              </a:xfrm>
              <a:custGeom>
                <a:avLst/>
                <a:gdLst/>
                <a:ahLst/>
                <a:cxnLst/>
                <a:rect l="l" t="t" r="r" b="b"/>
                <a:pathLst>
                  <a:path w="1702888" h="1053560" extrusionOk="0">
                    <a:moveTo>
                      <a:pt x="1702888" y="68199"/>
                    </a:moveTo>
                    <a:lnTo>
                      <a:pt x="0" y="1053560"/>
                    </a:lnTo>
                    <a:lnTo>
                      <a:pt x="0" y="985361"/>
                    </a:lnTo>
                    <a:lnTo>
                      <a:pt x="1702888" y="0"/>
                    </a:lnTo>
                    <a:lnTo>
                      <a:pt x="1702888" y="68199"/>
                    </a:lnTo>
                    <a:close/>
                  </a:path>
                </a:pathLst>
              </a:custGeom>
              <a:solidFill>
                <a:srgbClr val="9EA1A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" name="Google Shape;771;p18">
                <a:extLst>
                  <a:ext uri="{FF2B5EF4-FFF2-40B4-BE49-F238E27FC236}">
                    <a16:creationId xmlns:a16="http://schemas.microsoft.com/office/drawing/2014/main" id="{54E6943D-246B-43D5-9A58-BA2A265B1CB5}"/>
                  </a:ext>
                </a:extLst>
              </p:cNvPr>
              <p:cNvSpPr/>
              <p:nvPr/>
            </p:nvSpPr>
            <p:spPr>
              <a:xfrm>
                <a:off x="4763535" y="2360390"/>
                <a:ext cx="519572" cy="326898"/>
              </a:xfrm>
              <a:custGeom>
                <a:avLst/>
                <a:gdLst/>
                <a:ahLst/>
                <a:cxnLst/>
                <a:rect l="l" t="t" r="r" b="b"/>
                <a:pathLst>
                  <a:path w="519572" h="326898" extrusionOk="0">
                    <a:moveTo>
                      <a:pt x="519572" y="98965"/>
                    </a:moveTo>
                    <a:lnTo>
                      <a:pt x="248049" y="326898"/>
                    </a:lnTo>
                    <a:lnTo>
                      <a:pt x="0" y="227933"/>
                    </a:lnTo>
                    <a:lnTo>
                      <a:pt x="271523" y="0"/>
                    </a:lnTo>
                    <a:lnTo>
                      <a:pt x="519572" y="98965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" name="Google Shape;772;p18">
                <a:extLst>
                  <a:ext uri="{FF2B5EF4-FFF2-40B4-BE49-F238E27FC236}">
                    <a16:creationId xmlns:a16="http://schemas.microsoft.com/office/drawing/2014/main" id="{7B0EC87D-9CBD-4C49-B4F3-1A6A9903302F}"/>
                  </a:ext>
                </a:extLst>
              </p:cNvPr>
              <p:cNvSpPr/>
              <p:nvPr/>
            </p:nvSpPr>
            <p:spPr>
              <a:xfrm>
                <a:off x="4668877" y="2346674"/>
                <a:ext cx="551219" cy="318992"/>
              </a:xfrm>
              <a:custGeom>
                <a:avLst/>
                <a:gdLst/>
                <a:ahLst/>
                <a:cxnLst/>
                <a:rect l="l" t="t" r="r" b="b"/>
                <a:pathLst>
                  <a:path w="551219" h="318992" extrusionOk="0">
                    <a:moveTo>
                      <a:pt x="551220" y="123254"/>
                    </a:moveTo>
                    <a:lnTo>
                      <a:pt x="212980" y="318992"/>
                    </a:lnTo>
                    <a:lnTo>
                      <a:pt x="0" y="195739"/>
                    </a:lnTo>
                    <a:lnTo>
                      <a:pt x="338240" y="0"/>
                    </a:lnTo>
                    <a:lnTo>
                      <a:pt x="551220" y="123254"/>
                    </a:ln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" name="Google Shape;773;p18">
                <a:extLst>
                  <a:ext uri="{FF2B5EF4-FFF2-40B4-BE49-F238E27FC236}">
                    <a16:creationId xmlns:a16="http://schemas.microsoft.com/office/drawing/2014/main" id="{C4D3E11B-11C5-4BE3-A818-AD21761101D5}"/>
                  </a:ext>
                </a:extLst>
              </p:cNvPr>
              <p:cNvSpPr/>
              <p:nvPr/>
            </p:nvSpPr>
            <p:spPr>
              <a:xfrm>
                <a:off x="4743291" y="2531554"/>
                <a:ext cx="161184" cy="93249"/>
              </a:xfrm>
              <a:custGeom>
                <a:avLst/>
                <a:gdLst/>
                <a:ahLst/>
                <a:cxnLst/>
                <a:rect l="l" t="t" r="r" b="b"/>
                <a:pathLst>
                  <a:path w="161184" h="93249" extrusionOk="0">
                    <a:moveTo>
                      <a:pt x="161184" y="81248"/>
                    </a:moveTo>
                    <a:lnTo>
                      <a:pt x="140466" y="93250"/>
                    </a:lnTo>
                    <a:lnTo>
                      <a:pt x="0" y="12001"/>
                    </a:lnTo>
                    <a:lnTo>
                      <a:pt x="20718" y="0"/>
                    </a:lnTo>
                    <a:lnTo>
                      <a:pt x="161184" y="81248"/>
                    </a:ln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" name="Google Shape;774;p18">
                <a:extLst>
                  <a:ext uri="{FF2B5EF4-FFF2-40B4-BE49-F238E27FC236}">
                    <a16:creationId xmlns:a16="http://schemas.microsoft.com/office/drawing/2014/main" id="{63557488-B848-4F26-98F6-D04ED9F63911}"/>
                  </a:ext>
                </a:extLst>
              </p:cNvPr>
              <p:cNvSpPr/>
              <p:nvPr/>
            </p:nvSpPr>
            <p:spPr>
              <a:xfrm>
                <a:off x="4789955" y="2504598"/>
                <a:ext cx="161089" cy="93249"/>
              </a:xfrm>
              <a:custGeom>
                <a:avLst/>
                <a:gdLst/>
                <a:ahLst/>
                <a:cxnLst/>
                <a:rect l="l" t="t" r="r" b="b"/>
                <a:pathLst>
                  <a:path w="161089" h="93249" extrusionOk="0">
                    <a:moveTo>
                      <a:pt x="161089" y="81248"/>
                    </a:moveTo>
                    <a:lnTo>
                      <a:pt x="140371" y="93250"/>
                    </a:lnTo>
                    <a:lnTo>
                      <a:pt x="0" y="12002"/>
                    </a:lnTo>
                    <a:lnTo>
                      <a:pt x="20718" y="0"/>
                    </a:lnTo>
                    <a:lnTo>
                      <a:pt x="161089" y="81248"/>
                    </a:ln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" name="Google Shape;775;p18">
                <a:extLst>
                  <a:ext uri="{FF2B5EF4-FFF2-40B4-BE49-F238E27FC236}">
                    <a16:creationId xmlns:a16="http://schemas.microsoft.com/office/drawing/2014/main" id="{0B72E1C3-BEEB-433F-A1C2-C82AC0F7BA87}"/>
                  </a:ext>
                </a:extLst>
              </p:cNvPr>
              <p:cNvSpPr/>
              <p:nvPr/>
            </p:nvSpPr>
            <p:spPr>
              <a:xfrm>
                <a:off x="4834813" y="2478690"/>
                <a:ext cx="161089" cy="93154"/>
              </a:xfrm>
              <a:custGeom>
                <a:avLst/>
                <a:gdLst/>
                <a:ahLst/>
                <a:cxnLst/>
                <a:rect l="l" t="t" r="r" b="b"/>
                <a:pathLst>
                  <a:path w="161089" h="93154" extrusionOk="0">
                    <a:moveTo>
                      <a:pt x="161089" y="81248"/>
                    </a:moveTo>
                    <a:lnTo>
                      <a:pt x="140371" y="93154"/>
                    </a:lnTo>
                    <a:lnTo>
                      <a:pt x="0" y="12002"/>
                    </a:lnTo>
                    <a:lnTo>
                      <a:pt x="20718" y="0"/>
                    </a:lnTo>
                    <a:lnTo>
                      <a:pt x="161089" y="81248"/>
                    </a:ln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776;p18">
                <a:extLst>
                  <a:ext uri="{FF2B5EF4-FFF2-40B4-BE49-F238E27FC236}">
                    <a16:creationId xmlns:a16="http://schemas.microsoft.com/office/drawing/2014/main" id="{71FA4752-FA51-4EB4-A014-33D004540E16}"/>
                  </a:ext>
                </a:extLst>
              </p:cNvPr>
              <p:cNvSpPr/>
              <p:nvPr/>
            </p:nvSpPr>
            <p:spPr>
              <a:xfrm>
                <a:off x="4998753" y="2451734"/>
                <a:ext cx="102450" cy="59245"/>
              </a:xfrm>
              <a:custGeom>
                <a:avLst/>
                <a:gdLst/>
                <a:ahLst/>
                <a:cxnLst/>
                <a:rect l="l" t="t" r="r" b="b"/>
                <a:pathLst>
                  <a:path w="102450" h="59245" extrusionOk="0">
                    <a:moveTo>
                      <a:pt x="102451" y="47244"/>
                    </a:moveTo>
                    <a:lnTo>
                      <a:pt x="81733" y="59246"/>
                    </a:lnTo>
                    <a:lnTo>
                      <a:pt x="0" y="12002"/>
                    </a:lnTo>
                    <a:lnTo>
                      <a:pt x="20718" y="0"/>
                    </a:lnTo>
                    <a:lnTo>
                      <a:pt x="102451" y="47244"/>
                    </a:ln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" name="Google Shape;777;p18">
                <a:extLst>
                  <a:ext uri="{FF2B5EF4-FFF2-40B4-BE49-F238E27FC236}">
                    <a16:creationId xmlns:a16="http://schemas.microsoft.com/office/drawing/2014/main" id="{92EEEA57-937B-490F-9C12-5837AFEC1AC5}"/>
                  </a:ext>
                </a:extLst>
              </p:cNvPr>
              <p:cNvSpPr/>
              <p:nvPr/>
            </p:nvSpPr>
            <p:spPr>
              <a:xfrm>
                <a:off x="5043611" y="2425731"/>
                <a:ext cx="102450" cy="59245"/>
              </a:xfrm>
              <a:custGeom>
                <a:avLst/>
                <a:gdLst/>
                <a:ahLst/>
                <a:cxnLst/>
                <a:rect l="l" t="t" r="r" b="b"/>
                <a:pathLst>
                  <a:path w="102450" h="59245" extrusionOk="0">
                    <a:moveTo>
                      <a:pt x="102451" y="47339"/>
                    </a:moveTo>
                    <a:lnTo>
                      <a:pt x="81733" y="59246"/>
                    </a:lnTo>
                    <a:lnTo>
                      <a:pt x="0" y="12001"/>
                    </a:lnTo>
                    <a:lnTo>
                      <a:pt x="20718" y="0"/>
                    </a:lnTo>
                    <a:lnTo>
                      <a:pt x="102451" y="47339"/>
                    </a:ln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" name="Google Shape;778;p18">
                <a:extLst>
                  <a:ext uri="{FF2B5EF4-FFF2-40B4-BE49-F238E27FC236}">
                    <a16:creationId xmlns:a16="http://schemas.microsoft.com/office/drawing/2014/main" id="{6B8F53FC-7448-4F45-A963-EFAFB7C70531}"/>
                  </a:ext>
                </a:extLst>
              </p:cNvPr>
              <p:cNvSpPr/>
              <p:nvPr/>
            </p:nvSpPr>
            <p:spPr>
              <a:xfrm>
                <a:off x="4912649" y="2469832"/>
                <a:ext cx="307447" cy="180974"/>
              </a:xfrm>
              <a:custGeom>
                <a:avLst/>
                <a:gdLst/>
                <a:ahLst/>
                <a:cxnLst/>
                <a:rect l="l" t="t" r="r" b="b"/>
                <a:pathLst>
                  <a:path w="307447" h="180974" extrusionOk="0">
                    <a:moveTo>
                      <a:pt x="7508" y="180975"/>
                    </a:moveTo>
                    <a:cubicBezTo>
                      <a:pt x="13115" y="178594"/>
                      <a:pt x="307448" y="0"/>
                      <a:pt x="307448" y="0"/>
                    </a:cubicBezTo>
                    <a:lnTo>
                      <a:pt x="0" y="178117"/>
                    </a:lnTo>
                    <a:close/>
                  </a:path>
                </a:pathLst>
              </a:custGeom>
              <a:solidFill>
                <a:srgbClr val="D6D6D6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" name="Google Shape;779;p18">
                <a:extLst>
                  <a:ext uri="{FF2B5EF4-FFF2-40B4-BE49-F238E27FC236}">
                    <a16:creationId xmlns:a16="http://schemas.microsoft.com/office/drawing/2014/main" id="{C3E3190C-A5BB-4A6F-872B-D3FEAF413692}"/>
                  </a:ext>
                </a:extLst>
              </p:cNvPr>
              <p:cNvSpPr/>
              <p:nvPr/>
            </p:nvSpPr>
            <p:spPr>
              <a:xfrm>
                <a:off x="4894497" y="2841212"/>
                <a:ext cx="147498" cy="85344"/>
              </a:xfrm>
              <a:custGeom>
                <a:avLst/>
                <a:gdLst/>
                <a:ahLst/>
                <a:cxnLst/>
                <a:rect l="l" t="t" r="r" b="b"/>
                <a:pathLst>
                  <a:path w="147498" h="85344" extrusionOk="0">
                    <a:moveTo>
                      <a:pt x="147499" y="42672"/>
                    </a:moveTo>
                    <a:cubicBezTo>
                      <a:pt x="147499" y="66239"/>
                      <a:pt x="114480" y="85344"/>
                      <a:pt x="73749" y="85344"/>
                    </a:cubicBezTo>
                    <a:cubicBezTo>
                      <a:pt x="33019" y="85344"/>
                      <a:pt x="0" y="66239"/>
                      <a:pt x="0" y="42672"/>
                    </a:cubicBezTo>
                    <a:cubicBezTo>
                      <a:pt x="0" y="19105"/>
                      <a:pt x="33019" y="0"/>
                      <a:pt x="73749" y="0"/>
                    </a:cubicBezTo>
                    <a:cubicBezTo>
                      <a:pt x="114480" y="0"/>
                      <a:pt x="147499" y="19105"/>
                      <a:pt x="147499" y="42672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780;p18">
                <a:extLst>
                  <a:ext uri="{FF2B5EF4-FFF2-40B4-BE49-F238E27FC236}">
                    <a16:creationId xmlns:a16="http://schemas.microsoft.com/office/drawing/2014/main" id="{91BB572D-0855-4221-A8DE-9299B2749EFA}"/>
                  </a:ext>
                </a:extLst>
              </p:cNvPr>
              <p:cNvSpPr/>
              <p:nvPr/>
            </p:nvSpPr>
            <p:spPr>
              <a:xfrm>
                <a:off x="4901418" y="2763964"/>
                <a:ext cx="147800" cy="156591"/>
              </a:xfrm>
              <a:custGeom>
                <a:avLst/>
                <a:gdLst/>
                <a:ahLst/>
                <a:cxnLst/>
                <a:rect l="l" t="t" r="r" b="b"/>
                <a:pathLst>
                  <a:path w="147800" h="156591" extrusionOk="0">
                    <a:moveTo>
                      <a:pt x="147801" y="113824"/>
                    </a:moveTo>
                    <a:lnTo>
                      <a:pt x="147801" y="0"/>
                    </a:lnTo>
                    <a:lnTo>
                      <a:pt x="587" y="3715"/>
                    </a:lnTo>
                    <a:lnTo>
                      <a:pt x="587" y="108490"/>
                    </a:lnTo>
                    <a:cubicBezTo>
                      <a:pt x="-2169" y="121063"/>
                      <a:pt x="4769" y="134303"/>
                      <a:pt x="21590" y="144018"/>
                    </a:cubicBezTo>
                    <a:cubicBezTo>
                      <a:pt x="54436" y="160782"/>
                      <a:pt x="93287" y="160782"/>
                      <a:pt x="126132" y="144018"/>
                    </a:cubicBezTo>
                    <a:cubicBezTo>
                      <a:pt x="138288" y="138646"/>
                      <a:pt x="146584" y="127083"/>
                      <a:pt x="147801" y="113824"/>
                    </a:cubicBezTo>
                    <a:close/>
                  </a:path>
                </a:pathLst>
              </a:custGeom>
              <a:solidFill>
                <a:srgbClr val="A6CE2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" name="Google Shape;781;p18">
                <a:extLst>
                  <a:ext uri="{FF2B5EF4-FFF2-40B4-BE49-F238E27FC236}">
                    <a16:creationId xmlns:a16="http://schemas.microsoft.com/office/drawing/2014/main" id="{EE192CCC-5E72-476B-B7F9-264DD8A31B65}"/>
                  </a:ext>
                </a:extLst>
              </p:cNvPr>
              <p:cNvSpPr/>
              <p:nvPr/>
            </p:nvSpPr>
            <p:spPr>
              <a:xfrm>
                <a:off x="4901720" y="2721292"/>
                <a:ext cx="147498" cy="85344"/>
              </a:xfrm>
              <a:custGeom>
                <a:avLst/>
                <a:gdLst/>
                <a:ahLst/>
                <a:cxnLst/>
                <a:rect l="l" t="t" r="r" b="b"/>
                <a:pathLst>
                  <a:path w="147498" h="85344" extrusionOk="0">
                    <a:moveTo>
                      <a:pt x="147499" y="42672"/>
                    </a:moveTo>
                    <a:cubicBezTo>
                      <a:pt x="147499" y="66239"/>
                      <a:pt x="114480" y="85344"/>
                      <a:pt x="73749" y="85344"/>
                    </a:cubicBezTo>
                    <a:cubicBezTo>
                      <a:pt x="33018" y="85344"/>
                      <a:pt x="0" y="66239"/>
                      <a:pt x="0" y="42672"/>
                    </a:cubicBezTo>
                    <a:cubicBezTo>
                      <a:pt x="0" y="19105"/>
                      <a:pt x="33018" y="0"/>
                      <a:pt x="73749" y="0"/>
                    </a:cubicBezTo>
                    <a:cubicBezTo>
                      <a:pt x="114480" y="0"/>
                      <a:pt x="147499" y="19105"/>
                      <a:pt x="147499" y="42672"/>
                    </a:cubicBezTo>
                    <a:close/>
                  </a:path>
                </a:pathLst>
              </a:custGeom>
              <a:solidFill>
                <a:srgbClr val="BCD64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" name="Google Shape;782;p18">
                <a:extLst>
                  <a:ext uri="{FF2B5EF4-FFF2-40B4-BE49-F238E27FC236}">
                    <a16:creationId xmlns:a16="http://schemas.microsoft.com/office/drawing/2014/main" id="{95FE2EE1-1181-4106-BA8C-296D7C553335}"/>
                  </a:ext>
                </a:extLst>
              </p:cNvPr>
              <p:cNvSpPr/>
              <p:nvPr/>
            </p:nvSpPr>
            <p:spPr>
              <a:xfrm>
                <a:off x="4913314" y="2732891"/>
                <a:ext cx="124214" cy="61955"/>
              </a:xfrm>
              <a:custGeom>
                <a:avLst/>
                <a:gdLst/>
                <a:ahLst/>
                <a:cxnLst/>
                <a:rect l="l" t="t" r="r" b="b"/>
                <a:pathLst>
                  <a:path w="124214" h="61955" extrusionOk="0">
                    <a:moveTo>
                      <a:pt x="124215" y="31073"/>
                    </a:moveTo>
                    <a:cubicBezTo>
                      <a:pt x="124215" y="38026"/>
                      <a:pt x="118512" y="45360"/>
                      <a:pt x="108438" y="51075"/>
                    </a:cubicBezTo>
                    <a:cubicBezTo>
                      <a:pt x="95636" y="57924"/>
                      <a:pt x="81410" y="61639"/>
                      <a:pt x="66907" y="61934"/>
                    </a:cubicBezTo>
                    <a:lnTo>
                      <a:pt x="62060" y="61934"/>
                    </a:lnTo>
                    <a:cubicBezTo>
                      <a:pt x="45951" y="62277"/>
                      <a:pt x="30032" y="58505"/>
                      <a:pt x="15776" y="50980"/>
                    </a:cubicBezTo>
                    <a:cubicBezTo>
                      <a:pt x="5797" y="45265"/>
                      <a:pt x="0" y="37931"/>
                      <a:pt x="0" y="30978"/>
                    </a:cubicBezTo>
                    <a:cubicBezTo>
                      <a:pt x="0" y="24024"/>
                      <a:pt x="5797" y="16785"/>
                      <a:pt x="15776" y="10975"/>
                    </a:cubicBezTo>
                    <a:cubicBezTo>
                      <a:pt x="30032" y="3450"/>
                      <a:pt x="45951" y="-322"/>
                      <a:pt x="62060" y="21"/>
                    </a:cubicBezTo>
                    <a:lnTo>
                      <a:pt x="66812" y="21"/>
                    </a:lnTo>
                    <a:cubicBezTo>
                      <a:pt x="81314" y="317"/>
                      <a:pt x="95542" y="4031"/>
                      <a:pt x="108343" y="10880"/>
                    </a:cubicBezTo>
                    <a:cubicBezTo>
                      <a:pt x="118512" y="16881"/>
                      <a:pt x="124215" y="24120"/>
                      <a:pt x="124215" y="31073"/>
                    </a:cubicBezTo>
                    <a:close/>
                  </a:path>
                </a:pathLst>
              </a:custGeom>
              <a:solidFill>
                <a:srgbClr val="28221C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" name="Google Shape;783;p18">
                <a:extLst>
                  <a:ext uri="{FF2B5EF4-FFF2-40B4-BE49-F238E27FC236}">
                    <a16:creationId xmlns:a16="http://schemas.microsoft.com/office/drawing/2014/main" id="{7F5B20E3-A662-4450-A9E2-7902129EDD60}"/>
                  </a:ext>
                </a:extLst>
              </p:cNvPr>
              <p:cNvSpPr/>
              <p:nvPr/>
            </p:nvSpPr>
            <p:spPr>
              <a:xfrm>
                <a:off x="4922818" y="2733153"/>
                <a:ext cx="114710" cy="61622"/>
              </a:xfrm>
              <a:custGeom>
                <a:avLst/>
                <a:gdLst/>
                <a:ahLst/>
                <a:cxnLst/>
                <a:rect l="l" t="t" r="r" b="b"/>
                <a:pathLst>
                  <a:path w="114710" h="61622" extrusionOk="0">
                    <a:moveTo>
                      <a:pt x="114711" y="30811"/>
                    </a:moveTo>
                    <a:cubicBezTo>
                      <a:pt x="114711" y="37764"/>
                      <a:pt x="109008" y="45099"/>
                      <a:pt x="98934" y="50814"/>
                    </a:cubicBezTo>
                    <a:cubicBezTo>
                      <a:pt x="73084" y="65225"/>
                      <a:pt x="41627" y="65225"/>
                      <a:pt x="15776" y="50814"/>
                    </a:cubicBezTo>
                    <a:cubicBezTo>
                      <a:pt x="5797" y="45099"/>
                      <a:pt x="0" y="37764"/>
                      <a:pt x="0" y="30811"/>
                    </a:cubicBezTo>
                    <a:cubicBezTo>
                      <a:pt x="0" y="23858"/>
                      <a:pt x="5797" y="16619"/>
                      <a:pt x="15776" y="10808"/>
                    </a:cubicBezTo>
                    <a:cubicBezTo>
                      <a:pt x="41627" y="-3603"/>
                      <a:pt x="73084" y="-3603"/>
                      <a:pt x="98934" y="10808"/>
                    </a:cubicBezTo>
                    <a:cubicBezTo>
                      <a:pt x="109008" y="16619"/>
                      <a:pt x="114711" y="23858"/>
                      <a:pt x="114711" y="30811"/>
                    </a:cubicBezTo>
                    <a:close/>
                  </a:path>
                </a:pathLst>
              </a:custGeom>
              <a:solidFill>
                <a:srgbClr val="FFFFFF">
                  <a:alpha val="6669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" name="Google Shape;784;p18">
                <a:extLst>
                  <a:ext uri="{FF2B5EF4-FFF2-40B4-BE49-F238E27FC236}">
                    <a16:creationId xmlns:a16="http://schemas.microsoft.com/office/drawing/2014/main" id="{94170AF1-0205-4A92-8EC5-37D2918F4532}"/>
                  </a:ext>
                </a:extLst>
              </p:cNvPr>
              <p:cNvSpPr/>
              <p:nvPr/>
            </p:nvSpPr>
            <p:spPr>
              <a:xfrm>
                <a:off x="5015195" y="2807589"/>
                <a:ext cx="42215" cy="98678"/>
              </a:xfrm>
              <a:custGeom>
                <a:avLst/>
                <a:gdLst/>
                <a:ahLst/>
                <a:cxnLst/>
                <a:rect l="l" t="t" r="r" b="b"/>
                <a:pathLst>
                  <a:path w="42215" h="98678" extrusionOk="0">
                    <a:moveTo>
                      <a:pt x="23284" y="9049"/>
                    </a:moveTo>
                    <a:lnTo>
                      <a:pt x="7603" y="0"/>
                    </a:lnTo>
                    <a:lnTo>
                      <a:pt x="0" y="4477"/>
                    </a:lnTo>
                    <a:lnTo>
                      <a:pt x="7603" y="8858"/>
                    </a:lnTo>
                    <a:lnTo>
                      <a:pt x="7603" y="11716"/>
                    </a:lnTo>
                    <a:lnTo>
                      <a:pt x="22239" y="20193"/>
                    </a:lnTo>
                    <a:lnTo>
                      <a:pt x="22239" y="22955"/>
                    </a:lnTo>
                    <a:cubicBezTo>
                      <a:pt x="25765" y="28004"/>
                      <a:pt x="28939" y="33290"/>
                      <a:pt x="31743" y="38767"/>
                    </a:cubicBezTo>
                    <a:lnTo>
                      <a:pt x="32313" y="38290"/>
                    </a:lnTo>
                    <a:lnTo>
                      <a:pt x="32313" y="74962"/>
                    </a:lnTo>
                    <a:cubicBezTo>
                      <a:pt x="32313" y="84487"/>
                      <a:pt x="26706" y="81343"/>
                      <a:pt x="24235" y="79915"/>
                    </a:cubicBezTo>
                    <a:lnTo>
                      <a:pt x="7793" y="70390"/>
                    </a:lnTo>
                    <a:lnTo>
                      <a:pt x="190" y="74866"/>
                    </a:lnTo>
                    <a:lnTo>
                      <a:pt x="7793" y="79248"/>
                    </a:lnTo>
                    <a:lnTo>
                      <a:pt x="7793" y="82105"/>
                    </a:lnTo>
                    <a:lnTo>
                      <a:pt x="24235" y="91630"/>
                    </a:lnTo>
                    <a:cubicBezTo>
                      <a:pt x="25945" y="92630"/>
                      <a:pt x="27760" y="93431"/>
                      <a:pt x="29652" y="94012"/>
                    </a:cubicBezTo>
                    <a:lnTo>
                      <a:pt x="28606" y="98679"/>
                    </a:lnTo>
                    <a:lnTo>
                      <a:pt x="37160" y="93821"/>
                    </a:lnTo>
                    <a:lnTo>
                      <a:pt x="37160" y="93821"/>
                    </a:lnTo>
                    <a:cubicBezTo>
                      <a:pt x="40847" y="90678"/>
                      <a:pt x="42710" y="85877"/>
                      <a:pt x="42102" y="81058"/>
                    </a:cubicBezTo>
                    <a:lnTo>
                      <a:pt x="42102" y="42958"/>
                    </a:lnTo>
                    <a:cubicBezTo>
                      <a:pt x="41370" y="29356"/>
                      <a:pt x="34423" y="16850"/>
                      <a:pt x="23284" y="9049"/>
                    </a:cubicBezTo>
                    <a:close/>
                  </a:path>
                </a:pathLst>
              </a:custGeom>
              <a:solidFill>
                <a:srgbClr val="8DA01F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" name="Google Shape;785;p18">
                <a:extLst>
                  <a:ext uri="{FF2B5EF4-FFF2-40B4-BE49-F238E27FC236}">
                    <a16:creationId xmlns:a16="http://schemas.microsoft.com/office/drawing/2014/main" id="{679BA326-4686-4D16-9A28-FF7A002B13BA}"/>
                  </a:ext>
                </a:extLst>
              </p:cNvPr>
              <p:cNvSpPr/>
              <p:nvPr/>
            </p:nvSpPr>
            <p:spPr>
              <a:xfrm>
                <a:off x="5015195" y="2812256"/>
                <a:ext cx="34783" cy="94465"/>
              </a:xfrm>
              <a:custGeom>
                <a:avLst/>
                <a:gdLst/>
                <a:ahLst/>
                <a:cxnLst/>
                <a:rect l="l" t="t" r="r" b="b"/>
                <a:pathLst>
                  <a:path w="34783" h="94465" extrusionOk="0">
                    <a:moveTo>
                      <a:pt x="16442" y="91440"/>
                    </a:moveTo>
                    <a:lnTo>
                      <a:pt x="0" y="81915"/>
                    </a:lnTo>
                    <a:lnTo>
                      <a:pt x="0" y="70199"/>
                    </a:lnTo>
                    <a:lnTo>
                      <a:pt x="16442" y="79724"/>
                    </a:lnTo>
                    <a:cubicBezTo>
                      <a:pt x="18818" y="81058"/>
                      <a:pt x="24520" y="84296"/>
                      <a:pt x="24520" y="74676"/>
                    </a:cubicBezTo>
                    <a:lnTo>
                      <a:pt x="24520" y="36576"/>
                    </a:lnTo>
                    <a:cubicBezTo>
                      <a:pt x="23949" y="30013"/>
                      <a:pt x="20462" y="24070"/>
                      <a:pt x="15016" y="20384"/>
                    </a:cubicBezTo>
                    <a:lnTo>
                      <a:pt x="95" y="11716"/>
                    </a:lnTo>
                    <a:lnTo>
                      <a:pt x="95" y="0"/>
                    </a:lnTo>
                    <a:lnTo>
                      <a:pt x="15776" y="9049"/>
                    </a:lnTo>
                    <a:cubicBezTo>
                      <a:pt x="26867" y="16707"/>
                      <a:pt x="33862" y="29013"/>
                      <a:pt x="34784" y="42481"/>
                    </a:cubicBezTo>
                    <a:lnTo>
                      <a:pt x="34784" y="80581"/>
                    </a:lnTo>
                    <a:cubicBezTo>
                      <a:pt x="34594" y="90869"/>
                      <a:pt x="29842" y="99155"/>
                      <a:pt x="16442" y="91440"/>
                    </a:cubicBezTo>
                    <a:close/>
                  </a:path>
                </a:pathLst>
              </a:custGeom>
              <a:solidFill>
                <a:srgbClr val="99B52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8" name="Google Shape;786;p18">
                <a:extLst>
                  <a:ext uri="{FF2B5EF4-FFF2-40B4-BE49-F238E27FC236}">
                    <a16:creationId xmlns:a16="http://schemas.microsoft.com/office/drawing/2014/main" id="{72B74C7A-CCEE-4676-A0A0-3D89CE0138EC}"/>
                  </a:ext>
                </a:extLst>
              </p:cNvPr>
              <p:cNvSpPr/>
              <p:nvPr/>
            </p:nvSpPr>
            <p:spPr>
              <a:xfrm>
                <a:off x="3439562" y="2994755"/>
                <a:ext cx="147498" cy="85344"/>
              </a:xfrm>
              <a:custGeom>
                <a:avLst/>
                <a:gdLst/>
                <a:ahLst/>
                <a:cxnLst/>
                <a:rect l="l" t="t" r="r" b="b"/>
                <a:pathLst>
                  <a:path w="147498" h="85344" extrusionOk="0">
                    <a:moveTo>
                      <a:pt x="147499" y="42672"/>
                    </a:moveTo>
                    <a:cubicBezTo>
                      <a:pt x="147499" y="66239"/>
                      <a:pt x="114480" y="85344"/>
                      <a:pt x="73749" y="85344"/>
                    </a:cubicBezTo>
                    <a:cubicBezTo>
                      <a:pt x="33019" y="85344"/>
                      <a:pt x="0" y="66239"/>
                      <a:pt x="0" y="42672"/>
                    </a:cubicBezTo>
                    <a:cubicBezTo>
                      <a:pt x="0" y="19105"/>
                      <a:pt x="33019" y="0"/>
                      <a:pt x="73749" y="0"/>
                    </a:cubicBezTo>
                    <a:cubicBezTo>
                      <a:pt x="114480" y="0"/>
                      <a:pt x="147499" y="19105"/>
                      <a:pt x="147499" y="42672"/>
                    </a:cubicBezTo>
                    <a:close/>
                  </a:path>
                </a:pathLst>
              </a:custGeom>
              <a:solidFill>
                <a:srgbClr val="000000">
                  <a:alpha val="2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" name="Google Shape;787;p18">
                <a:extLst>
                  <a:ext uri="{FF2B5EF4-FFF2-40B4-BE49-F238E27FC236}">
                    <a16:creationId xmlns:a16="http://schemas.microsoft.com/office/drawing/2014/main" id="{A310F6AF-232E-40D0-8EB8-FC46D24B7CD2}"/>
                  </a:ext>
                </a:extLst>
              </p:cNvPr>
              <p:cNvSpPr/>
              <p:nvPr/>
            </p:nvSpPr>
            <p:spPr>
              <a:xfrm>
                <a:off x="3446488" y="2917507"/>
                <a:ext cx="147795" cy="156591"/>
              </a:xfrm>
              <a:custGeom>
                <a:avLst/>
                <a:gdLst/>
                <a:ahLst/>
                <a:cxnLst/>
                <a:rect l="l" t="t" r="r" b="b"/>
                <a:pathLst>
                  <a:path w="147795" h="156591" extrusionOk="0">
                    <a:moveTo>
                      <a:pt x="147796" y="113824"/>
                    </a:moveTo>
                    <a:lnTo>
                      <a:pt x="147796" y="0"/>
                    </a:lnTo>
                    <a:lnTo>
                      <a:pt x="582" y="3715"/>
                    </a:lnTo>
                    <a:lnTo>
                      <a:pt x="582" y="108490"/>
                    </a:lnTo>
                    <a:cubicBezTo>
                      <a:pt x="-2174" y="121158"/>
                      <a:pt x="4859" y="134398"/>
                      <a:pt x="21586" y="144018"/>
                    </a:cubicBezTo>
                    <a:cubicBezTo>
                      <a:pt x="54431" y="160782"/>
                      <a:pt x="93282" y="160782"/>
                      <a:pt x="126127" y="144018"/>
                    </a:cubicBezTo>
                    <a:cubicBezTo>
                      <a:pt x="138302" y="138655"/>
                      <a:pt x="146598" y="127092"/>
                      <a:pt x="147796" y="113824"/>
                    </a:cubicBezTo>
                    <a:close/>
                  </a:path>
                </a:pathLst>
              </a:custGeom>
              <a:solidFill>
                <a:srgbClr val="F7B03E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" name="Google Shape;788;p18">
                <a:extLst>
                  <a:ext uri="{FF2B5EF4-FFF2-40B4-BE49-F238E27FC236}">
                    <a16:creationId xmlns:a16="http://schemas.microsoft.com/office/drawing/2014/main" id="{5F8BA7F4-CC9C-4E37-8406-E665D9ECD747}"/>
                  </a:ext>
                </a:extLst>
              </p:cNvPr>
              <p:cNvSpPr/>
              <p:nvPr/>
            </p:nvSpPr>
            <p:spPr>
              <a:xfrm>
                <a:off x="3446785" y="2874835"/>
                <a:ext cx="147498" cy="85344"/>
              </a:xfrm>
              <a:custGeom>
                <a:avLst/>
                <a:gdLst/>
                <a:ahLst/>
                <a:cxnLst/>
                <a:rect l="l" t="t" r="r" b="b"/>
                <a:pathLst>
                  <a:path w="147498" h="85344" extrusionOk="0">
                    <a:moveTo>
                      <a:pt x="147499" y="42672"/>
                    </a:moveTo>
                    <a:cubicBezTo>
                      <a:pt x="147499" y="66239"/>
                      <a:pt x="114480" y="85344"/>
                      <a:pt x="73749" y="85344"/>
                    </a:cubicBezTo>
                    <a:cubicBezTo>
                      <a:pt x="33019" y="85344"/>
                      <a:pt x="0" y="66239"/>
                      <a:pt x="0" y="42672"/>
                    </a:cubicBezTo>
                    <a:cubicBezTo>
                      <a:pt x="0" y="19105"/>
                      <a:pt x="33019" y="0"/>
                      <a:pt x="73749" y="0"/>
                    </a:cubicBezTo>
                    <a:cubicBezTo>
                      <a:pt x="114480" y="0"/>
                      <a:pt x="147499" y="19105"/>
                      <a:pt x="147499" y="42672"/>
                    </a:cubicBezTo>
                    <a:close/>
                  </a:path>
                </a:pathLst>
              </a:custGeom>
              <a:solidFill>
                <a:srgbClr val="FCC06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" name="Google Shape;789;p18">
                <a:extLst>
                  <a:ext uri="{FF2B5EF4-FFF2-40B4-BE49-F238E27FC236}">
                    <a16:creationId xmlns:a16="http://schemas.microsoft.com/office/drawing/2014/main" id="{D8EDF6DD-9A40-4535-AD8F-BF96C996142C}"/>
                  </a:ext>
                </a:extLst>
              </p:cNvPr>
              <p:cNvSpPr/>
              <p:nvPr/>
            </p:nvSpPr>
            <p:spPr>
              <a:xfrm>
                <a:off x="3458475" y="2886430"/>
                <a:ext cx="124119" cy="61959"/>
              </a:xfrm>
              <a:custGeom>
                <a:avLst/>
                <a:gdLst/>
                <a:ahLst/>
                <a:cxnLst/>
                <a:rect l="l" t="t" r="r" b="b"/>
                <a:pathLst>
                  <a:path w="124119" h="61959" extrusionOk="0">
                    <a:moveTo>
                      <a:pt x="124119" y="31076"/>
                    </a:moveTo>
                    <a:cubicBezTo>
                      <a:pt x="124119" y="38030"/>
                      <a:pt x="118322" y="45269"/>
                      <a:pt x="108343" y="51079"/>
                    </a:cubicBezTo>
                    <a:cubicBezTo>
                      <a:pt x="95523" y="57870"/>
                      <a:pt x="81305" y="61595"/>
                      <a:pt x="66812" y="61938"/>
                    </a:cubicBezTo>
                    <a:lnTo>
                      <a:pt x="62060" y="61938"/>
                    </a:lnTo>
                    <a:cubicBezTo>
                      <a:pt x="45951" y="62280"/>
                      <a:pt x="30032" y="58509"/>
                      <a:pt x="15776" y="50984"/>
                    </a:cubicBezTo>
                    <a:cubicBezTo>
                      <a:pt x="5702" y="45174"/>
                      <a:pt x="0" y="37935"/>
                      <a:pt x="0" y="30981"/>
                    </a:cubicBezTo>
                    <a:cubicBezTo>
                      <a:pt x="0" y="24028"/>
                      <a:pt x="5702" y="16694"/>
                      <a:pt x="15776" y="10884"/>
                    </a:cubicBezTo>
                    <a:cubicBezTo>
                      <a:pt x="30041" y="3397"/>
                      <a:pt x="45960" y="-346"/>
                      <a:pt x="62060" y="25"/>
                    </a:cubicBezTo>
                    <a:lnTo>
                      <a:pt x="66812" y="25"/>
                    </a:lnTo>
                    <a:cubicBezTo>
                      <a:pt x="81305" y="301"/>
                      <a:pt x="95532" y="3987"/>
                      <a:pt x="108343" y="10788"/>
                    </a:cubicBezTo>
                    <a:cubicBezTo>
                      <a:pt x="118322" y="16789"/>
                      <a:pt x="124119" y="24123"/>
                      <a:pt x="124119" y="31076"/>
                    </a:cubicBezTo>
                    <a:close/>
                  </a:path>
                </a:pathLst>
              </a:custGeom>
              <a:solidFill>
                <a:srgbClr val="28221C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790;p18">
                <a:extLst>
                  <a:ext uri="{FF2B5EF4-FFF2-40B4-BE49-F238E27FC236}">
                    <a16:creationId xmlns:a16="http://schemas.microsoft.com/office/drawing/2014/main" id="{17CF4CFC-E9F0-49C7-8987-3945EB63C45A}"/>
                  </a:ext>
                </a:extLst>
              </p:cNvPr>
              <p:cNvSpPr/>
              <p:nvPr/>
            </p:nvSpPr>
            <p:spPr>
              <a:xfrm>
                <a:off x="3467883" y="2886601"/>
                <a:ext cx="114710" cy="61717"/>
              </a:xfrm>
              <a:custGeom>
                <a:avLst/>
                <a:gdLst/>
                <a:ahLst/>
                <a:cxnLst/>
                <a:rect l="l" t="t" r="r" b="b"/>
                <a:pathLst>
                  <a:path w="114710" h="61717" extrusionOk="0">
                    <a:moveTo>
                      <a:pt x="114711" y="30906"/>
                    </a:moveTo>
                    <a:cubicBezTo>
                      <a:pt x="114711" y="37859"/>
                      <a:pt x="108913" y="45099"/>
                      <a:pt x="98934" y="50909"/>
                    </a:cubicBezTo>
                    <a:cubicBezTo>
                      <a:pt x="73084" y="65320"/>
                      <a:pt x="41626" y="65320"/>
                      <a:pt x="15776" y="50909"/>
                    </a:cubicBezTo>
                    <a:cubicBezTo>
                      <a:pt x="6272" y="45099"/>
                      <a:pt x="0" y="37859"/>
                      <a:pt x="0" y="30906"/>
                    </a:cubicBezTo>
                    <a:cubicBezTo>
                      <a:pt x="0" y="23953"/>
                      <a:pt x="5797" y="16619"/>
                      <a:pt x="15776" y="10808"/>
                    </a:cubicBezTo>
                    <a:cubicBezTo>
                      <a:pt x="41626" y="-3603"/>
                      <a:pt x="73084" y="-3603"/>
                      <a:pt x="98934" y="10808"/>
                    </a:cubicBezTo>
                    <a:cubicBezTo>
                      <a:pt x="108913" y="16619"/>
                      <a:pt x="114711" y="23953"/>
                      <a:pt x="114711" y="30906"/>
                    </a:cubicBezTo>
                    <a:close/>
                  </a:path>
                </a:pathLst>
              </a:custGeom>
              <a:solidFill>
                <a:srgbClr val="FFFFFF">
                  <a:alpha val="6669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" name="Google Shape;791;p18">
                <a:extLst>
                  <a:ext uri="{FF2B5EF4-FFF2-40B4-BE49-F238E27FC236}">
                    <a16:creationId xmlns:a16="http://schemas.microsoft.com/office/drawing/2014/main" id="{92ADC0D6-0BF0-4210-AF21-72A25F7A3EA9}"/>
                  </a:ext>
                </a:extLst>
              </p:cNvPr>
              <p:cNvSpPr/>
              <p:nvPr/>
            </p:nvSpPr>
            <p:spPr>
              <a:xfrm>
                <a:off x="3559880" y="2961132"/>
                <a:ext cx="42223" cy="98678"/>
              </a:xfrm>
              <a:custGeom>
                <a:avLst/>
                <a:gdLst/>
                <a:ahLst/>
                <a:cxnLst/>
                <a:rect l="l" t="t" r="r" b="b"/>
                <a:pathLst>
                  <a:path w="42223" h="98678" extrusionOk="0">
                    <a:moveTo>
                      <a:pt x="23569" y="9049"/>
                    </a:moveTo>
                    <a:lnTo>
                      <a:pt x="7983" y="0"/>
                    </a:lnTo>
                    <a:lnTo>
                      <a:pt x="285" y="4381"/>
                    </a:lnTo>
                    <a:lnTo>
                      <a:pt x="7983" y="8858"/>
                    </a:lnTo>
                    <a:lnTo>
                      <a:pt x="7983" y="11716"/>
                    </a:lnTo>
                    <a:lnTo>
                      <a:pt x="22619" y="20193"/>
                    </a:lnTo>
                    <a:lnTo>
                      <a:pt x="22144" y="22955"/>
                    </a:lnTo>
                    <a:cubicBezTo>
                      <a:pt x="25689" y="27984"/>
                      <a:pt x="28873" y="33271"/>
                      <a:pt x="31648" y="38767"/>
                    </a:cubicBezTo>
                    <a:lnTo>
                      <a:pt x="32123" y="38290"/>
                    </a:lnTo>
                    <a:lnTo>
                      <a:pt x="32123" y="74962"/>
                    </a:lnTo>
                    <a:cubicBezTo>
                      <a:pt x="32123" y="84487"/>
                      <a:pt x="26516" y="81344"/>
                      <a:pt x="24140" y="79915"/>
                    </a:cubicBezTo>
                    <a:lnTo>
                      <a:pt x="7698" y="70390"/>
                    </a:lnTo>
                    <a:lnTo>
                      <a:pt x="0" y="74771"/>
                    </a:lnTo>
                    <a:lnTo>
                      <a:pt x="7698" y="79248"/>
                    </a:lnTo>
                    <a:lnTo>
                      <a:pt x="7698" y="82105"/>
                    </a:lnTo>
                    <a:lnTo>
                      <a:pt x="24140" y="91630"/>
                    </a:lnTo>
                    <a:cubicBezTo>
                      <a:pt x="25812" y="92631"/>
                      <a:pt x="27599" y="93431"/>
                      <a:pt x="29462" y="94012"/>
                    </a:cubicBezTo>
                    <a:lnTo>
                      <a:pt x="28511" y="98679"/>
                    </a:lnTo>
                    <a:lnTo>
                      <a:pt x="37065" y="93821"/>
                    </a:lnTo>
                    <a:lnTo>
                      <a:pt x="37065" y="93821"/>
                    </a:lnTo>
                    <a:cubicBezTo>
                      <a:pt x="40838" y="90687"/>
                      <a:pt x="42739" y="85830"/>
                      <a:pt x="42102" y="80963"/>
                    </a:cubicBezTo>
                    <a:lnTo>
                      <a:pt x="42102" y="42863"/>
                    </a:lnTo>
                    <a:cubicBezTo>
                      <a:pt x="41408" y="29346"/>
                      <a:pt x="34575" y="16888"/>
                      <a:pt x="23569" y="9049"/>
                    </a:cubicBezTo>
                    <a:close/>
                  </a:path>
                </a:pathLst>
              </a:custGeom>
              <a:solidFill>
                <a:srgbClr val="C9883A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" name="Google Shape;792;p18">
                <a:extLst>
                  <a:ext uri="{FF2B5EF4-FFF2-40B4-BE49-F238E27FC236}">
                    <a16:creationId xmlns:a16="http://schemas.microsoft.com/office/drawing/2014/main" id="{4F7BB2DD-DCCB-476F-9138-ACB41067673A}"/>
                  </a:ext>
                </a:extLst>
              </p:cNvPr>
              <p:cNvSpPr/>
              <p:nvPr/>
            </p:nvSpPr>
            <p:spPr>
              <a:xfrm>
                <a:off x="3560165" y="2965989"/>
                <a:ext cx="34688" cy="94398"/>
              </a:xfrm>
              <a:custGeom>
                <a:avLst/>
                <a:gdLst/>
                <a:ahLst/>
                <a:cxnLst/>
                <a:rect l="l" t="t" r="r" b="b"/>
                <a:pathLst>
                  <a:path w="34688" h="94398" extrusionOk="0">
                    <a:moveTo>
                      <a:pt x="16537" y="91535"/>
                    </a:moveTo>
                    <a:lnTo>
                      <a:pt x="0" y="82010"/>
                    </a:lnTo>
                    <a:lnTo>
                      <a:pt x="0" y="70199"/>
                    </a:lnTo>
                    <a:lnTo>
                      <a:pt x="16537" y="79724"/>
                    </a:lnTo>
                    <a:cubicBezTo>
                      <a:pt x="18913" y="81153"/>
                      <a:pt x="24520" y="84391"/>
                      <a:pt x="24520" y="74771"/>
                    </a:cubicBezTo>
                    <a:lnTo>
                      <a:pt x="24520" y="36671"/>
                    </a:lnTo>
                    <a:cubicBezTo>
                      <a:pt x="23874" y="30108"/>
                      <a:pt x="20405" y="24165"/>
                      <a:pt x="15016" y="20383"/>
                    </a:cubicBezTo>
                    <a:lnTo>
                      <a:pt x="0" y="11811"/>
                    </a:lnTo>
                    <a:lnTo>
                      <a:pt x="0" y="0"/>
                    </a:lnTo>
                    <a:lnTo>
                      <a:pt x="15681" y="9525"/>
                    </a:lnTo>
                    <a:cubicBezTo>
                      <a:pt x="26782" y="17173"/>
                      <a:pt x="33776" y="29489"/>
                      <a:pt x="34689" y="42958"/>
                    </a:cubicBezTo>
                    <a:lnTo>
                      <a:pt x="34689" y="81058"/>
                    </a:lnTo>
                    <a:cubicBezTo>
                      <a:pt x="34689" y="90678"/>
                      <a:pt x="29937" y="98965"/>
                      <a:pt x="16537" y="91535"/>
                    </a:cubicBezTo>
                    <a:close/>
                  </a:path>
                </a:pathLst>
              </a:custGeom>
              <a:solidFill>
                <a:srgbClr val="E09C3B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" name="Google Shape;793;p18">
                <a:extLst>
                  <a:ext uri="{FF2B5EF4-FFF2-40B4-BE49-F238E27FC236}">
                    <a16:creationId xmlns:a16="http://schemas.microsoft.com/office/drawing/2014/main" id="{34524DE1-5980-4299-AE50-D77F273E4E75}"/>
                  </a:ext>
                </a:extLst>
              </p:cNvPr>
              <p:cNvSpPr/>
              <p:nvPr/>
            </p:nvSpPr>
            <p:spPr>
              <a:xfrm>
                <a:off x="5618400" y="4515040"/>
                <a:ext cx="756691" cy="437959"/>
              </a:xfrm>
              <a:custGeom>
                <a:avLst/>
                <a:gdLst/>
                <a:ahLst/>
                <a:cxnLst/>
                <a:rect l="l" t="t" r="r" b="b"/>
                <a:pathLst>
                  <a:path w="756691" h="437959" extrusionOk="0">
                    <a:moveTo>
                      <a:pt x="756691" y="218980"/>
                    </a:moveTo>
                    <a:cubicBezTo>
                      <a:pt x="756691" y="339919"/>
                      <a:pt x="587300" y="437960"/>
                      <a:pt x="378346" y="437960"/>
                    </a:cubicBezTo>
                    <a:cubicBezTo>
                      <a:pt x="169391" y="437960"/>
                      <a:pt x="0" y="339919"/>
                      <a:pt x="0" y="218980"/>
                    </a:cubicBezTo>
                    <a:cubicBezTo>
                      <a:pt x="0" y="98041"/>
                      <a:pt x="169391" y="0"/>
                      <a:pt x="378346" y="0"/>
                    </a:cubicBezTo>
                    <a:cubicBezTo>
                      <a:pt x="587300" y="0"/>
                      <a:pt x="756691" y="98041"/>
                      <a:pt x="756691" y="21898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" name="Google Shape;794;p18">
                <a:extLst>
                  <a:ext uri="{FF2B5EF4-FFF2-40B4-BE49-F238E27FC236}">
                    <a16:creationId xmlns:a16="http://schemas.microsoft.com/office/drawing/2014/main" id="{D4587187-E7A0-483A-967B-2B156FF003B8}"/>
                  </a:ext>
                </a:extLst>
              </p:cNvPr>
              <p:cNvSpPr/>
              <p:nvPr/>
            </p:nvSpPr>
            <p:spPr>
              <a:xfrm>
                <a:off x="6158405" y="3069812"/>
                <a:ext cx="186021" cy="406050"/>
              </a:xfrm>
              <a:custGeom>
                <a:avLst/>
                <a:gdLst/>
                <a:ahLst/>
                <a:cxnLst/>
                <a:rect l="l" t="t" r="r" b="b"/>
                <a:pathLst>
                  <a:path w="186021" h="406050" extrusionOk="0">
                    <a:moveTo>
                      <a:pt x="145028" y="0"/>
                    </a:moveTo>
                    <a:cubicBezTo>
                      <a:pt x="149304" y="38100"/>
                      <a:pt x="194352" y="200882"/>
                      <a:pt x="184659" y="256699"/>
                    </a:cubicBezTo>
                    <a:cubicBezTo>
                      <a:pt x="174965" y="312515"/>
                      <a:pt x="21288" y="406051"/>
                      <a:pt x="21288" y="406051"/>
                    </a:cubicBezTo>
                    <a:lnTo>
                      <a:pt x="0" y="310801"/>
                    </a:lnTo>
                    <a:lnTo>
                      <a:pt x="85534" y="227171"/>
                    </a:lnTo>
                    <a:lnTo>
                      <a:pt x="61965" y="68389"/>
                    </a:ln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" name="Google Shape;795;p18">
                <a:extLst>
                  <a:ext uri="{FF2B5EF4-FFF2-40B4-BE49-F238E27FC236}">
                    <a16:creationId xmlns:a16="http://schemas.microsoft.com/office/drawing/2014/main" id="{448D03CF-98C7-4652-A3B1-3E650A338BB3}"/>
                  </a:ext>
                </a:extLst>
              </p:cNvPr>
              <p:cNvSpPr/>
              <p:nvPr/>
            </p:nvSpPr>
            <p:spPr>
              <a:xfrm>
                <a:off x="6184541" y="2902850"/>
                <a:ext cx="133813" cy="257894"/>
              </a:xfrm>
              <a:custGeom>
                <a:avLst/>
                <a:gdLst/>
                <a:ahLst/>
                <a:cxnLst/>
                <a:rect l="l" t="t" r="r" b="b"/>
                <a:pathLst>
                  <a:path w="133813" h="257894" extrusionOk="0">
                    <a:moveTo>
                      <a:pt x="0" y="6275"/>
                    </a:moveTo>
                    <a:cubicBezTo>
                      <a:pt x="30935" y="-8136"/>
                      <a:pt x="67743" y="3008"/>
                      <a:pt x="85534" y="32183"/>
                    </a:cubicBezTo>
                    <a:cubicBezTo>
                      <a:pt x="108153" y="69712"/>
                      <a:pt x="131627" y="198490"/>
                      <a:pt x="133813" y="220492"/>
                    </a:cubicBezTo>
                    <a:cubicBezTo>
                      <a:pt x="133813" y="220492"/>
                      <a:pt x="102071" y="264403"/>
                      <a:pt x="54457" y="257068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" name="Google Shape;796;p18">
                <a:extLst>
                  <a:ext uri="{FF2B5EF4-FFF2-40B4-BE49-F238E27FC236}">
                    <a16:creationId xmlns:a16="http://schemas.microsoft.com/office/drawing/2014/main" id="{7B792309-0853-4613-AC0A-6C5C4DABA24A}"/>
                  </a:ext>
                </a:extLst>
              </p:cNvPr>
              <p:cNvSpPr/>
              <p:nvPr/>
            </p:nvSpPr>
            <p:spPr>
              <a:xfrm>
                <a:off x="5735029" y="4688404"/>
                <a:ext cx="288490" cy="162715"/>
              </a:xfrm>
              <a:custGeom>
                <a:avLst/>
                <a:gdLst/>
                <a:ahLst/>
                <a:cxnLst/>
                <a:rect l="l" t="t" r="r" b="b"/>
                <a:pathLst>
                  <a:path w="288490" h="162715" extrusionOk="0">
                    <a:moveTo>
                      <a:pt x="273882" y="39044"/>
                    </a:moveTo>
                    <a:cubicBezTo>
                      <a:pt x="240419" y="48340"/>
                      <a:pt x="204647" y="43997"/>
                      <a:pt x="174377" y="26947"/>
                    </a:cubicBezTo>
                    <a:cubicBezTo>
                      <a:pt x="150428" y="27709"/>
                      <a:pt x="20321" y="-28108"/>
                      <a:pt x="2644" y="18756"/>
                    </a:cubicBezTo>
                    <a:cubicBezTo>
                      <a:pt x="-12847" y="59808"/>
                      <a:pt x="43510" y="97813"/>
                      <a:pt x="73637" y="105147"/>
                    </a:cubicBezTo>
                    <a:cubicBezTo>
                      <a:pt x="139308" y="121054"/>
                      <a:pt x="187683" y="153915"/>
                      <a:pt x="214293" y="159440"/>
                    </a:cubicBezTo>
                    <a:cubicBezTo>
                      <a:pt x="233966" y="163631"/>
                      <a:pt x="259436" y="166393"/>
                      <a:pt x="275118" y="150867"/>
                    </a:cubicBezTo>
                    <a:cubicBezTo>
                      <a:pt x="293935" y="132293"/>
                      <a:pt x="292319" y="63523"/>
                      <a:pt x="273882" y="39044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797;p18">
                <a:extLst>
                  <a:ext uri="{FF2B5EF4-FFF2-40B4-BE49-F238E27FC236}">
                    <a16:creationId xmlns:a16="http://schemas.microsoft.com/office/drawing/2014/main" id="{6D718797-19F8-4155-81F0-0BAC78BBBF9C}"/>
                  </a:ext>
                </a:extLst>
              </p:cNvPr>
              <p:cNvSpPr/>
              <p:nvPr/>
            </p:nvSpPr>
            <p:spPr>
              <a:xfrm>
                <a:off x="5735111" y="4715446"/>
                <a:ext cx="283683" cy="135768"/>
              </a:xfrm>
              <a:custGeom>
                <a:avLst/>
                <a:gdLst/>
                <a:ahLst/>
                <a:cxnLst/>
                <a:rect l="l" t="t" r="r" b="b"/>
                <a:pathLst>
                  <a:path w="283683" h="135768" extrusionOk="0">
                    <a:moveTo>
                      <a:pt x="214211" y="121063"/>
                    </a:moveTo>
                    <a:cubicBezTo>
                      <a:pt x="187885" y="115538"/>
                      <a:pt x="139226" y="82963"/>
                      <a:pt x="73555" y="66675"/>
                    </a:cubicBezTo>
                    <a:cubicBezTo>
                      <a:pt x="48275" y="60579"/>
                      <a:pt x="4843" y="32861"/>
                      <a:pt x="471" y="0"/>
                    </a:cubicBezTo>
                    <a:cubicBezTo>
                      <a:pt x="-5422" y="38100"/>
                      <a:pt x="45424" y="71342"/>
                      <a:pt x="73555" y="78200"/>
                    </a:cubicBezTo>
                    <a:cubicBezTo>
                      <a:pt x="139226" y="94107"/>
                      <a:pt x="187600" y="126968"/>
                      <a:pt x="214211" y="132493"/>
                    </a:cubicBezTo>
                    <a:cubicBezTo>
                      <a:pt x="233884" y="136684"/>
                      <a:pt x="259354" y="139446"/>
                      <a:pt x="275035" y="123920"/>
                    </a:cubicBezTo>
                    <a:cubicBezTo>
                      <a:pt x="279074" y="119415"/>
                      <a:pt x="282040" y="114033"/>
                      <a:pt x="283684" y="108204"/>
                    </a:cubicBezTo>
                    <a:cubicBezTo>
                      <a:pt x="263859" y="123254"/>
                      <a:pt x="238094" y="128026"/>
                      <a:pt x="214211" y="12106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98;p18">
                <a:extLst>
                  <a:ext uri="{FF2B5EF4-FFF2-40B4-BE49-F238E27FC236}">
                    <a16:creationId xmlns:a16="http://schemas.microsoft.com/office/drawing/2014/main" id="{9E7D8B3B-AD0C-4F8D-8541-83118DE47E48}"/>
                  </a:ext>
                </a:extLst>
              </p:cNvPr>
              <p:cNvSpPr/>
              <p:nvPr/>
            </p:nvSpPr>
            <p:spPr>
              <a:xfrm>
                <a:off x="5946488" y="4593442"/>
                <a:ext cx="288134" cy="162731"/>
              </a:xfrm>
              <a:custGeom>
                <a:avLst/>
                <a:gdLst/>
                <a:ahLst/>
                <a:cxnLst/>
                <a:rect l="l" t="t" r="r" b="b"/>
                <a:pathLst>
                  <a:path w="288134" h="162731" extrusionOk="0">
                    <a:moveTo>
                      <a:pt x="273882" y="39041"/>
                    </a:moveTo>
                    <a:cubicBezTo>
                      <a:pt x="240429" y="48319"/>
                      <a:pt x="204675" y="44004"/>
                      <a:pt x="174377" y="27040"/>
                    </a:cubicBezTo>
                    <a:cubicBezTo>
                      <a:pt x="150428" y="27707"/>
                      <a:pt x="20321" y="-28110"/>
                      <a:pt x="2644" y="18753"/>
                    </a:cubicBezTo>
                    <a:cubicBezTo>
                      <a:pt x="-12847" y="59806"/>
                      <a:pt x="43510" y="97810"/>
                      <a:pt x="73637" y="105145"/>
                    </a:cubicBezTo>
                    <a:cubicBezTo>
                      <a:pt x="139308" y="121051"/>
                      <a:pt x="187683" y="153913"/>
                      <a:pt x="214293" y="159533"/>
                    </a:cubicBezTo>
                    <a:cubicBezTo>
                      <a:pt x="234061" y="163628"/>
                      <a:pt x="259436" y="166391"/>
                      <a:pt x="275118" y="150865"/>
                    </a:cubicBezTo>
                    <a:cubicBezTo>
                      <a:pt x="293460" y="132291"/>
                      <a:pt x="291844" y="63521"/>
                      <a:pt x="273882" y="39041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" name="Google Shape;799;p18">
                <a:extLst>
                  <a:ext uri="{FF2B5EF4-FFF2-40B4-BE49-F238E27FC236}">
                    <a16:creationId xmlns:a16="http://schemas.microsoft.com/office/drawing/2014/main" id="{B798A45A-3CA0-4A0F-B02D-607E2B26E0C8}"/>
                  </a:ext>
                </a:extLst>
              </p:cNvPr>
              <p:cNvSpPr/>
              <p:nvPr/>
            </p:nvSpPr>
            <p:spPr>
              <a:xfrm>
                <a:off x="5946095" y="4620482"/>
                <a:ext cx="283683" cy="135691"/>
              </a:xfrm>
              <a:custGeom>
                <a:avLst/>
                <a:gdLst/>
                <a:ahLst/>
                <a:cxnLst/>
                <a:rect l="l" t="t" r="r" b="b"/>
                <a:pathLst>
                  <a:path w="283683" h="135691" extrusionOk="0">
                    <a:moveTo>
                      <a:pt x="214211" y="121063"/>
                    </a:moveTo>
                    <a:cubicBezTo>
                      <a:pt x="187885" y="115538"/>
                      <a:pt x="139226" y="82963"/>
                      <a:pt x="73555" y="66675"/>
                    </a:cubicBezTo>
                    <a:cubicBezTo>
                      <a:pt x="48275" y="60579"/>
                      <a:pt x="4842" y="32956"/>
                      <a:pt x="471" y="0"/>
                    </a:cubicBezTo>
                    <a:cubicBezTo>
                      <a:pt x="-5422" y="38100"/>
                      <a:pt x="45424" y="71247"/>
                      <a:pt x="73555" y="78105"/>
                    </a:cubicBezTo>
                    <a:cubicBezTo>
                      <a:pt x="139226" y="94012"/>
                      <a:pt x="187600" y="126873"/>
                      <a:pt x="214211" y="132493"/>
                    </a:cubicBezTo>
                    <a:cubicBezTo>
                      <a:pt x="233979" y="136588"/>
                      <a:pt x="259354" y="139351"/>
                      <a:pt x="275035" y="123825"/>
                    </a:cubicBezTo>
                    <a:cubicBezTo>
                      <a:pt x="279074" y="119320"/>
                      <a:pt x="282039" y="113938"/>
                      <a:pt x="283683" y="108109"/>
                    </a:cubicBezTo>
                    <a:cubicBezTo>
                      <a:pt x="263868" y="123187"/>
                      <a:pt x="238113" y="127997"/>
                      <a:pt x="214211" y="121063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" name="Google Shape;800;p18">
                <a:extLst>
                  <a:ext uri="{FF2B5EF4-FFF2-40B4-BE49-F238E27FC236}">
                    <a16:creationId xmlns:a16="http://schemas.microsoft.com/office/drawing/2014/main" id="{B6C53CB1-5D2B-4B0B-B081-79147452CBF9}"/>
                  </a:ext>
                </a:extLst>
              </p:cNvPr>
              <p:cNvSpPr/>
              <p:nvPr/>
            </p:nvSpPr>
            <p:spPr>
              <a:xfrm>
                <a:off x="5812467" y="3540156"/>
                <a:ext cx="422006" cy="1193603"/>
              </a:xfrm>
              <a:custGeom>
                <a:avLst/>
                <a:gdLst/>
                <a:ahLst/>
                <a:cxnLst/>
                <a:rect l="l" t="t" r="r" b="b"/>
                <a:pathLst>
                  <a:path w="422006" h="1193603" extrusionOk="0">
                    <a:moveTo>
                      <a:pt x="409993" y="738092"/>
                    </a:moveTo>
                    <a:cubicBezTo>
                      <a:pt x="404434" y="689638"/>
                      <a:pt x="394379" y="641804"/>
                      <a:pt x="379961" y="595217"/>
                    </a:cubicBezTo>
                    <a:cubicBezTo>
                      <a:pt x="379961" y="595217"/>
                      <a:pt x="388990" y="471964"/>
                      <a:pt x="393457" y="355092"/>
                    </a:cubicBezTo>
                    <a:cubicBezTo>
                      <a:pt x="398589" y="222504"/>
                      <a:pt x="444397" y="105823"/>
                      <a:pt x="408188" y="0"/>
                    </a:cubicBezTo>
                    <a:lnTo>
                      <a:pt x="0" y="90964"/>
                    </a:lnTo>
                    <a:cubicBezTo>
                      <a:pt x="0" y="90964"/>
                      <a:pt x="24710" y="619601"/>
                      <a:pt x="30222" y="683609"/>
                    </a:cubicBezTo>
                    <a:cubicBezTo>
                      <a:pt x="33216" y="733349"/>
                      <a:pt x="39308" y="782841"/>
                      <a:pt x="48469" y="831818"/>
                    </a:cubicBezTo>
                    <a:cubicBezTo>
                      <a:pt x="67477" y="934402"/>
                      <a:pt x="97414" y="1178528"/>
                      <a:pt x="97414" y="1178528"/>
                    </a:cubicBezTo>
                    <a:cubicBezTo>
                      <a:pt x="140561" y="1203674"/>
                      <a:pt x="197204" y="1189768"/>
                      <a:pt x="197204" y="1189768"/>
                    </a:cubicBezTo>
                    <a:cubicBezTo>
                      <a:pt x="197204" y="1189768"/>
                      <a:pt x="194163" y="881063"/>
                      <a:pt x="191311" y="807148"/>
                    </a:cubicBezTo>
                    <a:cubicBezTo>
                      <a:pt x="187985" y="716851"/>
                      <a:pt x="185229" y="723709"/>
                      <a:pt x="185229" y="723709"/>
                    </a:cubicBezTo>
                    <a:lnTo>
                      <a:pt x="198819" y="499110"/>
                    </a:lnTo>
                    <a:lnTo>
                      <a:pt x="207658" y="387286"/>
                    </a:lnTo>
                    <a:cubicBezTo>
                      <a:pt x="207658" y="387286"/>
                      <a:pt x="218967" y="469392"/>
                      <a:pt x="226665" y="542734"/>
                    </a:cubicBezTo>
                    <a:cubicBezTo>
                      <a:pt x="233033" y="606647"/>
                      <a:pt x="248429" y="664464"/>
                      <a:pt x="265631" y="783526"/>
                    </a:cubicBezTo>
                    <a:cubicBezTo>
                      <a:pt x="280552" y="886777"/>
                      <a:pt x="304787" y="1094232"/>
                      <a:pt x="304787" y="1094232"/>
                    </a:cubicBezTo>
                    <a:cubicBezTo>
                      <a:pt x="347934" y="1119473"/>
                      <a:pt x="406572" y="1098518"/>
                      <a:pt x="406572" y="1098518"/>
                    </a:cubicBezTo>
                    <a:cubicBezTo>
                      <a:pt x="406572" y="1098518"/>
                      <a:pt x="421683" y="827627"/>
                      <a:pt x="409993" y="73809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" name="Google Shape;801;p18">
                <a:extLst>
                  <a:ext uri="{FF2B5EF4-FFF2-40B4-BE49-F238E27FC236}">
                    <a16:creationId xmlns:a16="http://schemas.microsoft.com/office/drawing/2014/main" id="{7C6B8DC0-9861-43BC-B95C-3DD3A1AB3134}"/>
                  </a:ext>
                </a:extLst>
              </p:cNvPr>
              <p:cNvSpPr/>
              <p:nvPr/>
            </p:nvSpPr>
            <p:spPr>
              <a:xfrm>
                <a:off x="5874419" y="2560474"/>
                <a:ext cx="305952" cy="491697"/>
              </a:xfrm>
              <a:custGeom>
                <a:avLst/>
                <a:gdLst/>
                <a:ahLst/>
                <a:cxnLst/>
                <a:rect l="l" t="t" r="r" b="b"/>
                <a:pathLst>
                  <a:path w="305952" h="491697" extrusionOk="0">
                    <a:moveTo>
                      <a:pt x="288928" y="350842"/>
                    </a:moveTo>
                    <a:cubicBezTo>
                      <a:pt x="257851" y="352366"/>
                      <a:pt x="234756" y="360367"/>
                      <a:pt x="230860" y="350842"/>
                    </a:cubicBezTo>
                    <a:cubicBezTo>
                      <a:pt x="227496" y="334783"/>
                      <a:pt x="225120" y="318523"/>
                      <a:pt x="223732" y="302169"/>
                    </a:cubicBezTo>
                    <a:cubicBezTo>
                      <a:pt x="227343" y="293120"/>
                      <a:pt x="230385" y="283119"/>
                      <a:pt x="230385" y="283119"/>
                    </a:cubicBezTo>
                    <a:cubicBezTo>
                      <a:pt x="269445" y="259021"/>
                      <a:pt x="281800" y="216444"/>
                      <a:pt x="286932" y="167486"/>
                    </a:cubicBezTo>
                    <a:cubicBezTo>
                      <a:pt x="295676" y="83285"/>
                      <a:pt x="250248" y="9656"/>
                      <a:pt x="166329" y="798"/>
                    </a:cubicBezTo>
                    <a:cubicBezTo>
                      <a:pt x="87353" y="-7393"/>
                      <a:pt x="29285" y="48423"/>
                      <a:pt x="13793" y="124623"/>
                    </a:cubicBezTo>
                    <a:cubicBezTo>
                      <a:pt x="5430" y="162723"/>
                      <a:pt x="-11201" y="233589"/>
                      <a:pt x="11323" y="296073"/>
                    </a:cubicBezTo>
                    <a:cubicBezTo>
                      <a:pt x="23867" y="330744"/>
                      <a:pt x="39834" y="358271"/>
                      <a:pt x="56180" y="363605"/>
                    </a:cubicBezTo>
                    <a:cubicBezTo>
                      <a:pt x="71833" y="363205"/>
                      <a:pt x="87448" y="361834"/>
                      <a:pt x="102939" y="359510"/>
                    </a:cubicBezTo>
                    <a:lnTo>
                      <a:pt x="102939" y="359510"/>
                    </a:lnTo>
                    <a:cubicBezTo>
                      <a:pt x="102939" y="359510"/>
                      <a:pt x="107121" y="382941"/>
                      <a:pt x="110067" y="397610"/>
                    </a:cubicBezTo>
                    <a:cubicBezTo>
                      <a:pt x="113013" y="412278"/>
                      <a:pt x="111777" y="420565"/>
                      <a:pt x="82031" y="438948"/>
                    </a:cubicBezTo>
                    <a:cubicBezTo>
                      <a:pt x="52284" y="457331"/>
                      <a:pt x="127079" y="495241"/>
                      <a:pt x="176023" y="491431"/>
                    </a:cubicBezTo>
                    <a:cubicBezTo>
                      <a:pt x="224968" y="487621"/>
                      <a:pt x="279424" y="458951"/>
                      <a:pt x="294440" y="426851"/>
                    </a:cubicBezTo>
                    <a:cubicBezTo>
                      <a:pt x="311262" y="391514"/>
                      <a:pt x="309837" y="349794"/>
                      <a:pt x="288928" y="350842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802;p18">
                <a:extLst>
                  <a:ext uri="{FF2B5EF4-FFF2-40B4-BE49-F238E27FC236}">
                    <a16:creationId xmlns:a16="http://schemas.microsoft.com/office/drawing/2014/main" id="{CD6F928E-117B-497A-B75A-96F767F7182F}"/>
                  </a:ext>
                </a:extLst>
              </p:cNvPr>
              <p:cNvSpPr/>
              <p:nvPr/>
            </p:nvSpPr>
            <p:spPr>
              <a:xfrm>
                <a:off x="5809360" y="2908700"/>
                <a:ext cx="471048" cy="781597"/>
              </a:xfrm>
              <a:custGeom>
                <a:avLst/>
                <a:gdLst/>
                <a:ahLst/>
                <a:cxnLst/>
                <a:rect l="l" t="t" r="r" b="b"/>
                <a:pathLst>
                  <a:path w="471048" h="781597" extrusionOk="0">
                    <a:moveTo>
                      <a:pt x="308559" y="7283"/>
                    </a:moveTo>
                    <a:cubicBezTo>
                      <a:pt x="317113" y="28715"/>
                      <a:pt x="295254" y="54908"/>
                      <a:pt x="236901" y="73482"/>
                    </a:cubicBezTo>
                    <a:cubicBezTo>
                      <a:pt x="178547" y="92056"/>
                      <a:pt x="173225" y="68243"/>
                      <a:pt x="173225" y="68243"/>
                    </a:cubicBezTo>
                    <a:cubicBezTo>
                      <a:pt x="173225" y="68243"/>
                      <a:pt x="87691" y="107296"/>
                      <a:pt x="59750" y="126822"/>
                    </a:cubicBezTo>
                    <a:cubicBezTo>
                      <a:pt x="24776" y="151396"/>
                      <a:pt x="9190" y="222072"/>
                      <a:pt x="4438" y="342373"/>
                    </a:cubicBezTo>
                    <a:cubicBezTo>
                      <a:pt x="-979" y="481152"/>
                      <a:pt x="-1454" y="686987"/>
                      <a:pt x="3107" y="722516"/>
                    </a:cubicBezTo>
                    <a:cubicBezTo>
                      <a:pt x="3107" y="722516"/>
                      <a:pt x="68589" y="787952"/>
                      <a:pt x="152412" y="781094"/>
                    </a:cubicBezTo>
                    <a:cubicBezTo>
                      <a:pt x="236235" y="774236"/>
                      <a:pt x="377272" y="699846"/>
                      <a:pt x="411485" y="642410"/>
                    </a:cubicBezTo>
                    <a:cubicBezTo>
                      <a:pt x="410535" y="520776"/>
                      <a:pt x="396279" y="500964"/>
                      <a:pt x="415952" y="430860"/>
                    </a:cubicBezTo>
                    <a:cubicBezTo>
                      <a:pt x="461000" y="270364"/>
                      <a:pt x="484664" y="204641"/>
                      <a:pt x="462806" y="97961"/>
                    </a:cubicBezTo>
                    <a:cubicBezTo>
                      <a:pt x="444748" y="10045"/>
                      <a:pt x="419469" y="-813"/>
                      <a:pt x="384875" y="44"/>
                    </a:cubicBezTo>
                    <a:cubicBezTo>
                      <a:pt x="359329" y="1092"/>
                      <a:pt x="333849" y="3511"/>
                      <a:pt x="308559" y="7283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803;p18">
                <a:extLst>
                  <a:ext uri="{FF2B5EF4-FFF2-40B4-BE49-F238E27FC236}">
                    <a16:creationId xmlns:a16="http://schemas.microsoft.com/office/drawing/2014/main" id="{B535D86E-EFA7-4372-B53C-CBF03D89E736}"/>
                  </a:ext>
                </a:extLst>
              </p:cNvPr>
              <p:cNvSpPr/>
              <p:nvPr/>
            </p:nvSpPr>
            <p:spPr>
              <a:xfrm>
                <a:off x="5348856" y="3006224"/>
                <a:ext cx="597933" cy="466333"/>
              </a:xfrm>
              <a:custGeom>
                <a:avLst/>
                <a:gdLst/>
                <a:ahLst/>
                <a:cxnLst/>
                <a:rect l="l" t="t" r="r" b="b"/>
                <a:pathLst>
                  <a:path w="597933" h="466333" extrusionOk="0">
                    <a:moveTo>
                      <a:pt x="333219" y="359529"/>
                    </a:moveTo>
                    <a:cubicBezTo>
                      <a:pt x="402027" y="376960"/>
                      <a:pt x="418183" y="333431"/>
                      <a:pt x="427212" y="297522"/>
                    </a:cubicBezTo>
                    <a:cubicBezTo>
                      <a:pt x="449070" y="210368"/>
                      <a:pt x="460855" y="131691"/>
                      <a:pt x="477202" y="82161"/>
                    </a:cubicBezTo>
                    <a:cubicBezTo>
                      <a:pt x="496209" y="23868"/>
                      <a:pt x="516547" y="14629"/>
                      <a:pt x="544773" y="3199"/>
                    </a:cubicBezTo>
                    <a:cubicBezTo>
                      <a:pt x="578037" y="-10136"/>
                      <a:pt x="606548" y="17963"/>
                      <a:pt x="595524" y="92258"/>
                    </a:cubicBezTo>
                    <a:cubicBezTo>
                      <a:pt x="582408" y="180078"/>
                      <a:pt x="565302" y="241705"/>
                      <a:pt x="532513" y="345623"/>
                    </a:cubicBezTo>
                    <a:cubicBezTo>
                      <a:pt x="523960" y="372769"/>
                      <a:pt x="504763" y="420966"/>
                      <a:pt x="476061" y="444302"/>
                    </a:cubicBezTo>
                    <a:cubicBezTo>
                      <a:pt x="440517" y="472877"/>
                      <a:pt x="387106" y="471829"/>
                      <a:pt x="306228" y="451636"/>
                    </a:cubicBezTo>
                    <a:cubicBezTo>
                      <a:pt x="271730" y="443064"/>
                      <a:pt x="233905" y="422394"/>
                      <a:pt x="168708" y="391915"/>
                    </a:cubicBezTo>
                    <a:cubicBezTo>
                      <a:pt x="151222" y="383723"/>
                      <a:pt x="137536" y="378294"/>
                      <a:pt x="103988" y="362577"/>
                    </a:cubicBezTo>
                    <a:cubicBezTo>
                      <a:pt x="70439" y="346861"/>
                      <a:pt x="35370" y="320667"/>
                      <a:pt x="17789" y="295141"/>
                    </a:cubicBezTo>
                    <a:cubicBezTo>
                      <a:pt x="207" y="269614"/>
                      <a:pt x="-2169" y="257041"/>
                      <a:pt x="1442" y="251707"/>
                    </a:cubicBezTo>
                    <a:cubicBezTo>
                      <a:pt x="5909" y="244372"/>
                      <a:pt x="13892" y="245991"/>
                      <a:pt x="23301" y="256755"/>
                    </a:cubicBezTo>
                    <a:cubicBezTo>
                      <a:pt x="36872" y="274966"/>
                      <a:pt x="53646" y="290521"/>
                      <a:pt x="72815" y="302665"/>
                    </a:cubicBezTo>
                    <a:cubicBezTo>
                      <a:pt x="72815" y="302665"/>
                      <a:pt x="51052" y="280186"/>
                      <a:pt x="39267" y="265613"/>
                    </a:cubicBezTo>
                    <a:cubicBezTo>
                      <a:pt x="28727" y="252611"/>
                      <a:pt x="19974" y="238267"/>
                      <a:pt x="13227" y="222941"/>
                    </a:cubicBezTo>
                    <a:cubicBezTo>
                      <a:pt x="7049" y="208082"/>
                      <a:pt x="19879" y="187889"/>
                      <a:pt x="29573" y="198462"/>
                    </a:cubicBezTo>
                    <a:cubicBezTo>
                      <a:pt x="39267" y="209034"/>
                      <a:pt x="44019" y="219893"/>
                      <a:pt x="61791" y="241229"/>
                    </a:cubicBezTo>
                    <a:cubicBezTo>
                      <a:pt x="71124" y="252649"/>
                      <a:pt x="81816" y="262889"/>
                      <a:pt x="93629" y="271709"/>
                    </a:cubicBezTo>
                    <a:cubicBezTo>
                      <a:pt x="82595" y="256641"/>
                      <a:pt x="72777" y="240714"/>
                      <a:pt x="64262" y="224084"/>
                    </a:cubicBezTo>
                    <a:cubicBezTo>
                      <a:pt x="56649" y="211158"/>
                      <a:pt x="52924" y="196309"/>
                      <a:pt x="53523" y="181317"/>
                    </a:cubicBezTo>
                    <a:cubicBezTo>
                      <a:pt x="53998" y="173506"/>
                      <a:pt x="65022" y="164267"/>
                      <a:pt x="75286" y="179031"/>
                    </a:cubicBezTo>
                    <a:cubicBezTo>
                      <a:pt x="84790" y="192270"/>
                      <a:pt x="90682" y="213035"/>
                      <a:pt x="112256" y="235609"/>
                    </a:cubicBezTo>
                    <a:cubicBezTo>
                      <a:pt x="127937" y="251897"/>
                      <a:pt x="141338" y="261327"/>
                      <a:pt x="141718" y="256755"/>
                    </a:cubicBezTo>
                    <a:cubicBezTo>
                      <a:pt x="142098" y="252183"/>
                      <a:pt x="132214" y="243324"/>
                      <a:pt x="126607" y="224274"/>
                    </a:cubicBezTo>
                    <a:cubicBezTo>
                      <a:pt x="121000" y="205224"/>
                      <a:pt x="126607" y="185127"/>
                      <a:pt x="137156" y="182936"/>
                    </a:cubicBezTo>
                    <a:cubicBezTo>
                      <a:pt x="147705" y="180745"/>
                      <a:pt x="145614" y="181317"/>
                      <a:pt x="153978" y="199128"/>
                    </a:cubicBezTo>
                    <a:cubicBezTo>
                      <a:pt x="162341" y="216940"/>
                      <a:pt x="175361" y="230085"/>
                      <a:pt x="185245" y="256278"/>
                    </a:cubicBezTo>
                    <a:cubicBezTo>
                      <a:pt x="190634" y="274624"/>
                      <a:pt x="200423" y="291369"/>
                      <a:pt x="213757" y="305047"/>
                    </a:cubicBezTo>
                    <a:cubicBezTo>
                      <a:pt x="230483" y="323144"/>
                      <a:pt x="267833" y="343051"/>
                      <a:pt x="333219" y="359529"/>
                    </a:cubicBezTo>
                    <a:close/>
                  </a:path>
                </a:pathLst>
              </a:custGeom>
              <a:solidFill>
                <a:srgbClr val="9C6448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804;p18">
                <a:extLst>
                  <a:ext uri="{FF2B5EF4-FFF2-40B4-BE49-F238E27FC236}">
                    <a16:creationId xmlns:a16="http://schemas.microsoft.com/office/drawing/2014/main" id="{D41A74D8-F628-452C-B1FB-2BB7869C4EE6}"/>
                  </a:ext>
                </a:extLst>
              </p:cNvPr>
              <p:cNvSpPr/>
              <p:nvPr/>
            </p:nvSpPr>
            <p:spPr>
              <a:xfrm>
                <a:off x="5786047" y="2996305"/>
                <a:ext cx="182011" cy="266828"/>
              </a:xfrm>
              <a:custGeom>
                <a:avLst/>
                <a:gdLst/>
                <a:ahLst/>
                <a:cxnLst/>
                <a:rect l="l" t="t" r="r" b="b"/>
                <a:pathLst>
                  <a:path w="182011" h="266828" extrusionOk="0">
                    <a:moveTo>
                      <a:pt x="133053" y="1213"/>
                    </a:moveTo>
                    <a:cubicBezTo>
                      <a:pt x="87150" y="-5550"/>
                      <a:pt x="54742" y="15119"/>
                      <a:pt x="34404" y="84937"/>
                    </a:cubicBezTo>
                    <a:cubicBezTo>
                      <a:pt x="14066" y="154755"/>
                      <a:pt x="0" y="211905"/>
                      <a:pt x="0" y="211905"/>
                    </a:cubicBezTo>
                    <a:cubicBezTo>
                      <a:pt x="18143" y="238194"/>
                      <a:pt x="45666" y="256502"/>
                      <a:pt x="76886" y="263055"/>
                    </a:cubicBezTo>
                    <a:cubicBezTo>
                      <a:pt x="131818" y="276390"/>
                      <a:pt x="151586" y="250101"/>
                      <a:pt x="151586" y="250101"/>
                    </a:cubicBezTo>
                    <a:cubicBezTo>
                      <a:pt x="151586" y="250101"/>
                      <a:pt x="166886" y="177044"/>
                      <a:pt x="176390" y="127323"/>
                    </a:cubicBezTo>
                    <a:cubicBezTo>
                      <a:pt x="185894" y="77603"/>
                      <a:pt x="189886" y="9594"/>
                      <a:pt x="133053" y="1213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805;p18">
                <a:extLst>
                  <a:ext uri="{FF2B5EF4-FFF2-40B4-BE49-F238E27FC236}">
                    <a16:creationId xmlns:a16="http://schemas.microsoft.com/office/drawing/2014/main" id="{35015E9A-588A-414B-993B-9296767E94C3}"/>
                  </a:ext>
                </a:extLst>
              </p:cNvPr>
              <p:cNvSpPr/>
              <p:nvPr/>
            </p:nvSpPr>
            <p:spPr>
              <a:xfrm>
                <a:off x="5873666" y="2538911"/>
                <a:ext cx="296973" cy="328330"/>
              </a:xfrm>
              <a:custGeom>
                <a:avLst/>
                <a:gdLst/>
                <a:ahLst/>
                <a:cxnLst/>
                <a:rect l="l" t="t" r="r" b="b"/>
                <a:pathLst>
                  <a:path w="296973" h="328330" extrusionOk="0">
                    <a:moveTo>
                      <a:pt x="16733" y="135613"/>
                    </a:moveTo>
                    <a:cubicBezTo>
                      <a:pt x="16733" y="135613"/>
                      <a:pt x="-55876" y="25123"/>
                      <a:pt x="101411" y="2263"/>
                    </a:cubicBezTo>
                    <a:cubicBezTo>
                      <a:pt x="214791" y="-13930"/>
                      <a:pt x="287686" y="59413"/>
                      <a:pt x="296049" y="138280"/>
                    </a:cubicBezTo>
                    <a:cubicBezTo>
                      <a:pt x="304127" y="214003"/>
                      <a:pt x="257558" y="292585"/>
                      <a:pt x="224010" y="323827"/>
                    </a:cubicBezTo>
                    <a:cubicBezTo>
                      <a:pt x="207664" y="329637"/>
                      <a:pt x="172309" y="333352"/>
                      <a:pt x="126026" y="311920"/>
                    </a:cubicBezTo>
                    <a:cubicBezTo>
                      <a:pt x="124144" y="291308"/>
                      <a:pt x="123413" y="270611"/>
                      <a:pt x="123840" y="249913"/>
                    </a:cubicBezTo>
                    <a:cubicBezTo>
                      <a:pt x="123840" y="249913"/>
                      <a:pt x="179152" y="133612"/>
                      <a:pt x="16733" y="13561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78" name="Google Shape;819;p18">
                <a:extLst>
                  <a:ext uri="{FF2B5EF4-FFF2-40B4-BE49-F238E27FC236}">
                    <a16:creationId xmlns:a16="http://schemas.microsoft.com/office/drawing/2014/main" id="{B0D36966-BABF-4E36-AA4F-896B8854F767}"/>
                  </a:ext>
                </a:extLst>
              </p:cNvPr>
              <p:cNvGrpSpPr/>
              <p:nvPr/>
            </p:nvGrpSpPr>
            <p:grpSpPr>
              <a:xfrm>
                <a:off x="3923682" y="3244965"/>
                <a:ext cx="195764" cy="131404"/>
                <a:chOff x="5733332" y="4102215"/>
                <a:chExt cx="195764" cy="131404"/>
              </a:xfrm>
            </p:grpSpPr>
            <p:sp>
              <p:nvSpPr>
                <p:cNvPr id="103" name="Google Shape;820;p18">
                  <a:extLst>
                    <a:ext uri="{FF2B5EF4-FFF2-40B4-BE49-F238E27FC236}">
                      <a16:creationId xmlns:a16="http://schemas.microsoft.com/office/drawing/2014/main" id="{25C4498F-B21E-495C-BBB3-DA0BEFE0E48D}"/>
                    </a:ext>
                  </a:extLst>
                </p:cNvPr>
                <p:cNvSpPr/>
                <p:nvPr/>
              </p:nvSpPr>
              <p:spPr>
                <a:xfrm>
                  <a:off x="5734887" y="4131087"/>
                  <a:ext cx="177232" cy="1007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7232" h="100744" extrusionOk="0">
                      <a:moveTo>
                        <a:pt x="177024" y="99346"/>
                      </a:moveTo>
                      <a:lnTo>
                        <a:pt x="150604" y="74581"/>
                      </a:lnTo>
                      <a:cubicBezTo>
                        <a:pt x="147249" y="69713"/>
                        <a:pt x="143219" y="65351"/>
                        <a:pt x="138629" y="61627"/>
                      </a:cubicBezTo>
                      <a:cubicBezTo>
                        <a:pt x="136623" y="59941"/>
                        <a:pt x="134495" y="58417"/>
                        <a:pt x="132261" y="57055"/>
                      </a:cubicBezTo>
                      <a:lnTo>
                        <a:pt x="98048" y="34195"/>
                      </a:lnTo>
                      <a:lnTo>
                        <a:pt x="60698" y="17621"/>
                      </a:lnTo>
                      <a:cubicBezTo>
                        <a:pt x="58407" y="16564"/>
                        <a:pt x="56060" y="15640"/>
                        <a:pt x="53665" y="14859"/>
                      </a:cubicBezTo>
                      <a:cubicBezTo>
                        <a:pt x="48162" y="13021"/>
                        <a:pt x="42441" y="11935"/>
                        <a:pt x="36653" y="11621"/>
                      </a:cubicBezTo>
                      <a:lnTo>
                        <a:pt x="1109" y="0"/>
                      </a:lnTo>
                      <a:cubicBezTo>
                        <a:pt x="-887" y="0"/>
                        <a:pt x="254" y="3620"/>
                        <a:pt x="1109" y="5144"/>
                      </a:cubicBezTo>
                      <a:lnTo>
                        <a:pt x="4530" y="6572"/>
                      </a:lnTo>
                      <a:cubicBezTo>
                        <a:pt x="8807" y="8192"/>
                        <a:pt x="5196" y="7620"/>
                        <a:pt x="9662" y="10763"/>
                      </a:cubicBezTo>
                      <a:lnTo>
                        <a:pt x="30096" y="16002"/>
                      </a:lnTo>
                      <a:cubicBezTo>
                        <a:pt x="43106" y="15507"/>
                        <a:pt x="55984" y="18822"/>
                        <a:pt x="67160" y="25527"/>
                      </a:cubicBezTo>
                      <a:lnTo>
                        <a:pt x="94246" y="39148"/>
                      </a:lnTo>
                      <a:lnTo>
                        <a:pt x="120287" y="54864"/>
                      </a:lnTo>
                      <a:cubicBezTo>
                        <a:pt x="131729" y="61170"/>
                        <a:pt x="140853" y="70980"/>
                        <a:pt x="146327" y="82868"/>
                      </a:cubicBezTo>
                      <a:lnTo>
                        <a:pt x="160107" y="94012"/>
                      </a:lnTo>
                      <a:cubicBezTo>
                        <a:pt x="164384" y="98012"/>
                        <a:pt x="161913" y="96298"/>
                        <a:pt x="168281" y="97250"/>
                      </a:cubicBezTo>
                      <a:lnTo>
                        <a:pt x="171797" y="100298"/>
                      </a:lnTo>
                      <a:cubicBezTo>
                        <a:pt x="174363" y="100965"/>
                        <a:pt x="178165" y="101060"/>
                        <a:pt x="177024" y="99346"/>
                      </a:cubicBezTo>
                      <a:close/>
                    </a:path>
                  </a:pathLst>
                </a:custGeom>
                <a:solidFill>
                  <a:srgbClr val="000000">
                    <a:alpha val="200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4" name="Google Shape;821;p18">
                  <a:extLst>
                    <a:ext uri="{FF2B5EF4-FFF2-40B4-BE49-F238E27FC236}">
                      <a16:creationId xmlns:a16="http://schemas.microsoft.com/office/drawing/2014/main" id="{4CF063E9-E977-4302-97F6-CD022AECC584}"/>
                    </a:ext>
                  </a:extLst>
                </p:cNvPr>
                <p:cNvSpPr/>
                <p:nvPr/>
              </p:nvSpPr>
              <p:spPr>
                <a:xfrm>
                  <a:off x="5750846" y="4118425"/>
                  <a:ext cx="155883" cy="1098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5883" h="109857" extrusionOk="0">
                      <a:moveTo>
                        <a:pt x="86746" y="59620"/>
                      </a:moveTo>
                      <a:cubicBezTo>
                        <a:pt x="88855" y="56363"/>
                        <a:pt x="91688" y="53619"/>
                        <a:pt x="95014" y="51619"/>
                      </a:cubicBezTo>
                      <a:cubicBezTo>
                        <a:pt x="99851" y="48647"/>
                        <a:pt x="105525" y="47342"/>
                        <a:pt x="111170" y="47904"/>
                      </a:cubicBezTo>
                      <a:cubicBezTo>
                        <a:pt x="117832" y="48590"/>
                        <a:pt x="124295" y="50600"/>
                        <a:pt x="130178" y="53810"/>
                      </a:cubicBezTo>
                      <a:lnTo>
                        <a:pt x="130843" y="53810"/>
                      </a:lnTo>
                      <a:lnTo>
                        <a:pt x="140347" y="58953"/>
                      </a:lnTo>
                      <a:cubicBezTo>
                        <a:pt x="142818" y="60287"/>
                        <a:pt x="145099" y="61811"/>
                        <a:pt x="147380" y="63335"/>
                      </a:cubicBezTo>
                      <a:lnTo>
                        <a:pt x="151751" y="66573"/>
                      </a:lnTo>
                      <a:cubicBezTo>
                        <a:pt x="158309" y="71812"/>
                        <a:pt x="156408" y="82099"/>
                        <a:pt x="150611" y="90290"/>
                      </a:cubicBezTo>
                      <a:cubicBezTo>
                        <a:pt x="147399" y="94863"/>
                        <a:pt x="143702" y="99082"/>
                        <a:pt x="139587" y="102863"/>
                      </a:cubicBezTo>
                      <a:cubicBezTo>
                        <a:pt x="132231" y="109264"/>
                        <a:pt x="122119" y="111455"/>
                        <a:pt x="112786" y="108674"/>
                      </a:cubicBezTo>
                      <a:cubicBezTo>
                        <a:pt x="108528" y="107331"/>
                        <a:pt x="104413" y="105540"/>
                        <a:pt x="100526" y="103340"/>
                      </a:cubicBezTo>
                      <a:cubicBezTo>
                        <a:pt x="96934" y="101235"/>
                        <a:pt x="93522" y="98815"/>
                        <a:pt x="90357" y="96101"/>
                      </a:cubicBezTo>
                      <a:cubicBezTo>
                        <a:pt x="82374" y="88624"/>
                        <a:pt x="79874" y="76965"/>
                        <a:pt x="84084" y="66859"/>
                      </a:cubicBezTo>
                      <a:cubicBezTo>
                        <a:pt x="84702" y="64354"/>
                        <a:pt x="85596" y="61925"/>
                        <a:pt x="86746" y="59620"/>
                      </a:cubicBezTo>
                      <a:close/>
                      <a:moveTo>
                        <a:pt x="8339" y="11995"/>
                      </a:moveTo>
                      <a:cubicBezTo>
                        <a:pt x="13471" y="4089"/>
                        <a:pt x="22215" y="-1912"/>
                        <a:pt x="29628" y="565"/>
                      </a:cubicBezTo>
                      <a:lnTo>
                        <a:pt x="34380" y="2375"/>
                      </a:lnTo>
                      <a:cubicBezTo>
                        <a:pt x="36784" y="3318"/>
                        <a:pt x="39132" y="4394"/>
                        <a:pt x="41412" y="5613"/>
                      </a:cubicBezTo>
                      <a:lnTo>
                        <a:pt x="50061" y="10090"/>
                      </a:lnTo>
                      <a:lnTo>
                        <a:pt x="50631" y="10090"/>
                      </a:lnTo>
                      <a:cubicBezTo>
                        <a:pt x="56067" y="12967"/>
                        <a:pt x="60772" y="17034"/>
                        <a:pt x="64412" y="21996"/>
                      </a:cubicBezTo>
                      <a:cubicBezTo>
                        <a:pt x="67424" y="26073"/>
                        <a:pt x="68688" y="31178"/>
                        <a:pt x="67928" y="36188"/>
                      </a:cubicBezTo>
                      <a:cubicBezTo>
                        <a:pt x="67358" y="39875"/>
                        <a:pt x="65932" y="43361"/>
                        <a:pt x="63746" y="46380"/>
                      </a:cubicBezTo>
                      <a:cubicBezTo>
                        <a:pt x="61969" y="48533"/>
                        <a:pt x="59964" y="50476"/>
                        <a:pt x="57759" y="52190"/>
                      </a:cubicBezTo>
                      <a:cubicBezTo>
                        <a:pt x="49652" y="60106"/>
                        <a:pt x="37972" y="63116"/>
                        <a:pt x="27062" y="60096"/>
                      </a:cubicBezTo>
                      <a:cubicBezTo>
                        <a:pt x="23241" y="58877"/>
                        <a:pt x="19544" y="57286"/>
                        <a:pt x="16037" y="55334"/>
                      </a:cubicBezTo>
                      <a:cubicBezTo>
                        <a:pt x="12645" y="53238"/>
                        <a:pt x="9461" y="50809"/>
                        <a:pt x="6534" y="48095"/>
                      </a:cubicBezTo>
                      <a:cubicBezTo>
                        <a:pt x="309" y="42285"/>
                        <a:pt x="-1687" y="33236"/>
                        <a:pt x="1497" y="25330"/>
                      </a:cubicBezTo>
                      <a:cubicBezTo>
                        <a:pt x="3274" y="20672"/>
                        <a:pt x="5574" y="16234"/>
                        <a:pt x="8339" y="12090"/>
                      </a:cubicBezTo>
                      <a:close/>
                    </a:path>
                  </a:pathLst>
                </a:custGeom>
                <a:solidFill>
                  <a:srgbClr val="000000">
                    <a:alpha val="98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5" name="Google Shape;822;p18">
                  <a:extLst>
                    <a:ext uri="{FF2B5EF4-FFF2-40B4-BE49-F238E27FC236}">
                      <a16:creationId xmlns:a16="http://schemas.microsoft.com/office/drawing/2014/main" id="{6F20A1D5-1231-4928-9D39-2F1ABCB4AE4C}"/>
                    </a:ext>
                  </a:extLst>
                </p:cNvPr>
                <p:cNvSpPr/>
                <p:nvPr/>
              </p:nvSpPr>
              <p:spPr>
                <a:xfrm>
                  <a:off x="5733332" y="4130673"/>
                  <a:ext cx="192169" cy="733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2169" h="73375" extrusionOk="0">
                      <a:moveTo>
                        <a:pt x="15779" y="11368"/>
                      </a:moveTo>
                      <a:lnTo>
                        <a:pt x="36117" y="9463"/>
                      </a:lnTo>
                      <a:cubicBezTo>
                        <a:pt x="48995" y="8187"/>
                        <a:pt x="61967" y="10768"/>
                        <a:pt x="73372" y="16893"/>
                      </a:cubicBezTo>
                      <a:lnTo>
                        <a:pt x="185611" y="73376"/>
                      </a:lnTo>
                      <a:lnTo>
                        <a:pt x="192169" y="63851"/>
                      </a:lnTo>
                      <a:lnTo>
                        <a:pt x="66529" y="8320"/>
                      </a:lnTo>
                      <a:cubicBezTo>
                        <a:pt x="58974" y="4777"/>
                        <a:pt x="50810" y="2739"/>
                        <a:pt x="42484" y="2320"/>
                      </a:cubicBezTo>
                      <a:lnTo>
                        <a:pt x="2569" y="34"/>
                      </a:lnTo>
                      <a:cubicBezTo>
                        <a:pt x="1381" y="-176"/>
                        <a:pt x="250" y="614"/>
                        <a:pt x="31" y="1805"/>
                      </a:cubicBezTo>
                      <a:cubicBezTo>
                        <a:pt x="-73" y="2424"/>
                        <a:pt x="88" y="3063"/>
                        <a:pt x="478" y="3558"/>
                      </a:cubicBezTo>
                      <a:lnTo>
                        <a:pt x="1523" y="4987"/>
                      </a:lnTo>
                      <a:cubicBezTo>
                        <a:pt x="4869" y="9425"/>
                        <a:pt x="10248" y="11835"/>
                        <a:pt x="15779" y="11368"/>
                      </a:cubicBezTo>
                      <a:close/>
                    </a:path>
                  </a:pathLst>
                </a:custGeom>
                <a:solidFill>
                  <a:srgbClr val="2B303F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6" name="Google Shape;823;p18">
                  <a:extLst>
                    <a:ext uri="{FF2B5EF4-FFF2-40B4-BE49-F238E27FC236}">
                      <a16:creationId xmlns:a16="http://schemas.microsoft.com/office/drawing/2014/main" id="{AA1549AC-11CA-430F-95F0-AEBD8271B6F5}"/>
                    </a:ext>
                  </a:extLst>
                </p:cNvPr>
                <p:cNvSpPr/>
                <p:nvPr/>
              </p:nvSpPr>
              <p:spPr>
                <a:xfrm>
                  <a:off x="5757380" y="4106036"/>
                  <a:ext cx="156130" cy="1275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6130" h="127583" extrusionOk="0">
                      <a:moveTo>
                        <a:pt x="136950" y="117539"/>
                      </a:moveTo>
                      <a:lnTo>
                        <a:pt x="128491" y="98489"/>
                      </a:lnTo>
                      <a:cubicBezTo>
                        <a:pt x="123036" y="86601"/>
                        <a:pt x="113950" y="76762"/>
                        <a:pt x="102546" y="70390"/>
                      </a:cubicBezTo>
                      <a:lnTo>
                        <a:pt x="0" y="8858"/>
                      </a:lnTo>
                      <a:lnTo>
                        <a:pt x="5797" y="0"/>
                      </a:lnTo>
                      <a:lnTo>
                        <a:pt x="114236" y="72295"/>
                      </a:lnTo>
                      <a:cubicBezTo>
                        <a:pt x="121439" y="76876"/>
                        <a:pt x="127645" y="82868"/>
                        <a:pt x="132483" y="89916"/>
                      </a:cubicBezTo>
                      <a:lnTo>
                        <a:pt x="155767" y="124016"/>
                      </a:lnTo>
                      <a:cubicBezTo>
                        <a:pt x="156908" y="125730"/>
                        <a:pt x="155197" y="127921"/>
                        <a:pt x="152916" y="127540"/>
                      </a:cubicBezTo>
                      <a:lnTo>
                        <a:pt x="150920" y="127540"/>
                      </a:lnTo>
                      <a:cubicBezTo>
                        <a:pt x="144866" y="126816"/>
                        <a:pt x="139601" y="123044"/>
                        <a:pt x="136950" y="117539"/>
                      </a:cubicBezTo>
                      <a:close/>
                    </a:path>
                  </a:pathLst>
                </a:custGeom>
                <a:solidFill>
                  <a:srgbClr val="2B303F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7" name="Google Shape;824;p18">
                  <a:extLst>
                    <a:ext uri="{FF2B5EF4-FFF2-40B4-BE49-F238E27FC236}">
                      <a16:creationId xmlns:a16="http://schemas.microsoft.com/office/drawing/2014/main" id="{2331E776-F3A4-4269-B4DA-210DB24C09E2}"/>
                    </a:ext>
                  </a:extLst>
                </p:cNvPr>
                <p:cNvSpPr/>
                <p:nvPr/>
              </p:nvSpPr>
              <p:spPr>
                <a:xfrm>
                  <a:off x="5834686" y="4162247"/>
                  <a:ext cx="73778" cy="620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778" h="62054" extrusionOk="0">
                      <a:moveTo>
                        <a:pt x="29231" y="178"/>
                      </a:moveTo>
                      <a:cubicBezTo>
                        <a:pt x="35893" y="835"/>
                        <a:pt x="42346" y="2807"/>
                        <a:pt x="48239" y="5988"/>
                      </a:cubicBezTo>
                      <a:lnTo>
                        <a:pt x="48809" y="5988"/>
                      </a:lnTo>
                      <a:lnTo>
                        <a:pt x="58313" y="11036"/>
                      </a:lnTo>
                      <a:cubicBezTo>
                        <a:pt x="60783" y="12465"/>
                        <a:pt x="63064" y="13894"/>
                        <a:pt x="65345" y="15418"/>
                      </a:cubicBezTo>
                      <a:cubicBezTo>
                        <a:pt x="67626" y="16942"/>
                        <a:pt x="68292" y="17608"/>
                        <a:pt x="69717" y="18751"/>
                      </a:cubicBezTo>
                      <a:cubicBezTo>
                        <a:pt x="76180" y="23895"/>
                        <a:pt x="74279" y="34277"/>
                        <a:pt x="68577" y="42373"/>
                      </a:cubicBezTo>
                      <a:cubicBezTo>
                        <a:pt x="65383" y="46993"/>
                        <a:pt x="61658" y="51222"/>
                        <a:pt x="57457" y="54946"/>
                      </a:cubicBezTo>
                      <a:cubicBezTo>
                        <a:pt x="50187" y="61442"/>
                        <a:pt x="40075" y="63681"/>
                        <a:pt x="30752" y="60852"/>
                      </a:cubicBezTo>
                      <a:cubicBezTo>
                        <a:pt x="26503" y="59433"/>
                        <a:pt x="22398" y="57613"/>
                        <a:pt x="18492" y="55422"/>
                      </a:cubicBezTo>
                      <a:cubicBezTo>
                        <a:pt x="14852" y="53384"/>
                        <a:pt x="11440" y="50955"/>
                        <a:pt x="8323" y="48184"/>
                      </a:cubicBezTo>
                      <a:cubicBezTo>
                        <a:pt x="301" y="40764"/>
                        <a:pt x="-2208" y="29105"/>
                        <a:pt x="2050" y="19037"/>
                      </a:cubicBezTo>
                      <a:cubicBezTo>
                        <a:pt x="2763" y="16370"/>
                        <a:pt x="3808" y="13808"/>
                        <a:pt x="5186" y="11417"/>
                      </a:cubicBezTo>
                      <a:cubicBezTo>
                        <a:pt x="7325" y="8179"/>
                        <a:pt x="10147" y="5445"/>
                        <a:pt x="13455" y="3416"/>
                      </a:cubicBezTo>
                      <a:cubicBezTo>
                        <a:pt x="18226" y="663"/>
                        <a:pt x="23757" y="-470"/>
                        <a:pt x="29231" y="178"/>
                      </a:cubicBezTo>
                      <a:close/>
                    </a:path>
                  </a:pathLst>
                </a:custGeom>
                <a:solidFill>
                  <a:srgbClr val="000000">
                    <a:alpha val="298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8" name="Google Shape;825;p18">
                  <a:extLst>
                    <a:ext uri="{FF2B5EF4-FFF2-40B4-BE49-F238E27FC236}">
                      <a16:creationId xmlns:a16="http://schemas.microsoft.com/office/drawing/2014/main" id="{403FDC40-FFA0-469E-98D9-F7919590D2C1}"/>
                    </a:ext>
                  </a:extLst>
                </p:cNvPr>
                <p:cNvSpPr/>
                <p:nvPr/>
              </p:nvSpPr>
              <p:spPr>
                <a:xfrm>
                  <a:off x="5745586" y="4102215"/>
                  <a:ext cx="183510" cy="12878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3510" h="128783" extrusionOk="0">
                      <a:moveTo>
                        <a:pt x="14550" y="1821"/>
                      </a:moveTo>
                      <a:lnTo>
                        <a:pt x="9608" y="9632"/>
                      </a:lnTo>
                      <a:cubicBezTo>
                        <a:pt x="8753" y="10575"/>
                        <a:pt x="8753" y="12022"/>
                        <a:pt x="9608" y="12965"/>
                      </a:cubicBezTo>
                      <a:cubicBezTo>
                        <a:pt x="11347" y="14527"/>
                        <a:pt x="11822" y="17071"/>
                        <a:pt x="10748" y="19157"/>
                      </a:cubicBezTo>
                      <a:lnTo>
                        <a:pt x="2575" y="36301"/>
                      </a:lnTo>
                      <a:cubicBezTo>
                        <a:pt x="-2329" y="46274"/>
                        <a:pt x="-86" y="58304"/>
                        <a:pt x="8087" y="65829"/>
                      </a:cubicBezTo>
                      <a:lnTo>
                        <a:pt x="8087" y="65829"/>
                      </a:lnTo>
                      <a:cubicBezTo>
                        <a:pt x="14997" y="72001"/>
                        <a:pt x="23170" y="76583"/>
                        <a:pt x="32037" y="79259"/>
                      </a:cubicBezTo>
                      <a:lnTo>
                        <a:pt x="32037" y="79259"/>
                      </a:lnTo>
                      <a:cubicBezTo>
                        <a:pt x="45494" y="83374"/>
                        <a:pt x="60111" y="79717"/>
                        <a:pt x="70052" y="69734"/>
                      </a:cubicBezTo>
                      <a:lnTo>
                        <a:pt x="77655" y="62019"/>
                      </a:lnTo>
                      <a:cubicBezTo>
                        <a:pt x="79337" y="60381"/>
                        <a:pt x="80354" y="58171"/>
                        <a:pt x="80506" y="55828"/>
                      </a:cubicBezTo>
                      <a:cubicBezTo>
                        <a:pt x="81029" y="52180"/>
                        <a:pt x="84393" y="49646"/>
                        <a:pt x="88033" y="50170"/>
                      </a:cubicBezTo>
                      <a:cubicBezTo>
                        <a:pt x="88718" y="50265"/>
                        <a:pt x="89383" y="50475"/>
                        <a:pt x="90010" y="50780"/>
                      </a:cubicBezTo>
                      <a:lnTo>
                        <a:pt x="91911" y="51732"/>
                      </a:lnTo>
                      <a:lnTo>
                        <a:pt x="93811" y="52875"/>
                      </a:lnTo>
                      <a:cubicBezTo>
                        <a:pt x="96321" y="54694"/>
                        <a:pt x="96891" y="58209"/>
                        <a:pt x="95075" y="60723"/>
                      </a:cubicBezTo>
                      <a:cubicBezTo>
                        <a:pt x="94572" y="61419"/>
                        <a:pt x="93906" y="62000"/>
                        <a:pt x="93146" y="62400"/>
                      </a:cubicBezTo>
                      <a:cubicBezTo>
                        <a:pt x="91008" y="63533"/>
                        <a:pt x="89307" y="65343"/>
                        <a:pt x="88299" y="67543"/>
                      </a:cubicBezTo>
                      <a:lnTo>
                        <a:pt x="84023" y="77068"/>
                      </a:lnTo>
                      <a:cubicBezTo>
                        <a:pt x="78482" y="89508"/>
                        <a:pt x="81770" y="104119"/>
                        <a:pt x="92101" y="112978"/>
                      </a:cubicBezTo>
                      <a:lnTo>
                        <a:pt x="92101" y="112978"/>
                      </a:lnTo>
                      <a:cubicBezTo>
                        <a:pt x="99362" y="119398"/>
                        <a:pt x="107877" y="124227"/>
                        <a:pt x="117096" y="127170"/>
                      </a:cubicBezTo>
                      <a:lnTo>
                        <a:pt x="117096" y="127170"/>
                      </a:lnTo>
                      <a:cubicBezTo>
                        <a:pt x="129156" y="131066"/>
                        <a:pt x="142366" y="127780"/>
                        <a:pt x="151214" y="118693"/>
                      </a:cubicBezTo>
                      <a:lnTo>
                        <a:pt x="165470" y="103643"/>
                      </a:lnTo>
                      <a:cubicBezTo>
                        <a:pt x="167409" y="101700"/>
                        <a:pt x="170250" y="100967"/>
                        <a:pt x="172883" y="101738"/>
                      </a:cubicBezTo>
                      <a:cubicBezTo>
                        <a:pt x="174290" y="102224"/>
                        <a:pt x="175858" y="101767"/>
                        <a:pt x="176780" y="100595"/>
                      </a:cubicBezTo>
                      <a:lnTo>
                        <a:pt x="182577" y="92594"/>
                      </a:lnTo>
                      <a:cubicBezTo>
                        <a:pt x="183822" y="91108"/>
                        <a:pt x="183822" y="88937"/>
                        <a:pt x="182577" y="87451"/>
                      </a:cubicBezTo>
                      <a:cubicBezTo>
                        <a:pt x="173501" y="78412"/>
                        <a:pt x="163047" y="70887"/>
                        <a:pt x="151595" y="65162"/>
                      </a:cubicBezTo>
                      <a:lnTo>
                        <a:pt x="142091" y="60019"/>
                      </a:lnTo>
                      <a:cubicBezTo>
                        <a:pt x="135058" y="56180"/>
                        <a:pt x="127341" y="53789"/>
                        <a:pt x="119377" y="52970"/>
                      </a:cubicBezTo>
                      <a:lnTo>
                        <a:pt x="112344" y="52208"/>
                      </a:lnTo>
                      <a:cubicBezTo>
                        <a:pt x="110776" y="52284"/>
                        <a:pt x="109236" y="51732"/>
                        <a:pt x="108067" y="50684"/>
                      </a:cubicBezTo>
                      <a:cubicBezTo>
                        <a:pt x="107373" y="49703"/>
                        <a:pt x="106461" y="48884"/>
                        <a:pt x="105406" y="48303"/>
                      </a:cubicBezTo>
                      <a:lnTo>
                        <a:pt x="97613" y="44112"/>
                      </a:lnTo>
                      <a:lnTo>
                        <a:pt x="89820" y="39826"/>
                      </a:lnTo>
                      <a:cubicBezTo>
                        <a:pt x="88699" y="39254"/>
                        <a:pt x="87463" y="38930"/>
                        <a:pt x="86208" y="38873"/>
                      </a:cubicBezTo>
                      <a:cubicBezTo>
                        <a:pt x="84374" y="38826"/>
                        <a:pt x="82664" y="37949"/>
                        <a:pt x="81552" y="36492"/>
                      </a:cubicBezTo>
                      <a:lnTo>
                        <a:pt x="77750" y="31349"/>
                      </a:lnTo>
                      <a:cubicBezTo>
                        <a:pt x="73359" y="25453"/>
                        <a:pt x="67667" y="20661"/>
                        <a:pt x="61118" y="17347"/>
                      </a:cubicBezTo>
                      <a:lnTo>
                        <a:pt x="52470" y="12775"/>
                      </a:lnTo>
                      <a:cubicBezTo>
                        <a:pt x="42244" y="6698"/>
                        <a:pt x="31058" y="2412"/>
                        <a:pt x="19397" y="107"/>
                      </a:cubicBezTo>
                      <a:cubicBezTo>
                        <a:pt x="17591" y="-275"/>
                        <a:pt x="15719" y="383"/>
                        <a:pt x="14550" y="1821"/>
                      </a:cubicBezTo>
                      <a:close/>
                      <a:moveTo>
                        <a:pt x="93906" y="72020"/>
                      </a:moveTo>
                      <a:cubicBezTo>
                        <a:pt x="96045" y="68782"/>
                        <a:pt x="98867" y="66048"/>
                        <a:pt x="102175" y="64019"/>
                      </a:cubicBezTo>
                      <a:cubicBezTo>
                        <a:pt x="107012" y="61048"/>
                        <a:pt x="112696" y="59781"/>
                        <a:pt x="118331" y="60400"/>
                      </a:cubicBezTo>
                      <a:cubicBezTo>
                        <a:pt x="124993" y="61057"/>
                        <a:pt x="131447" y="63029"/>
                        <a:pt x="137339" y="66210"/>
                      </a:cubicBezTo>
                      <a:lnTo>
                        <a:pt x="137909" y="66210"/>
                      </a:lnTo>
                      <a:lnTo>
                        <a:pt x="147413" y="71258"/>
                      </a:lnTo>
                      <a:cubicBezTo>
                        <a:pt x="149884" y="72687"/>
                        <a:pt x="152165" y="74116"/>
                        <a:pt x="154446" y="75640"/>
                      </a:cubicBezTo>
                      <a:cubicBezTo>
                        <a:pt x="156727" y="77164"/>
                        <a:pt x="157392" y="77831"/>
                        <a:pt x="158817" y="78974"/>
                      </a:cubicBezTo>
                      <a:cubicBezTo>
                        <a:pt x="165280" y="84117"/>
                        <a:pt x="163379" y="94499"/>
                        <a:pt x="157677" y="102596"/>
                      </a:cubicBezTo>
                      <a:cubicBezTo>
                        <a:pt x="154484" y="107215"/>
                        <a:pt x="150758" y="111444"/>
                        <a:pt x="146558" y="115168"/>
                      </a:cubicBezTo>
                      <a:cubicBezTo>
                        <a:pt x="139287" y="121665"/>
                        <a:pt x="129175" y="123903"/>
                        <a:pt x="119852" y="121074"/>
                      </a:cubicBezTo>
                      <a:cubicBezTo>
                        <a:pt x="115604" y="119655"/>
                        <a:pt x="111498" y="117835"/>
                        <a:pt x="107592" y="115645"/>
                      </a:cubicBezTo>
                      <a:cubicBezTo>
                        <a:pt x="103952" y="113606"/>
                        <a:pt x="100540" y="111178"/>
                        <a:pt x="97423" y="108406"/>
                      </a:cubicBezTo>
                      <a:cubicBezTo>
                        <a:pt x="89402" y="100986"/>
                        <a:pt x="86893" y="89327"/>
                        <a:pt x="91150" y="79259"/>
                      </a:cubicBezTo>
                      <a:cubicBezTo>
                        <a:pt x="91768" y="76745"/>
                        <a:pt x="92690" y="74306"/>
                        <a:pt x="93906" y="72020"/>
                      </a:cubicBezTo>
                      <a:close/>
                      <a:moveTo>
                        <a:pt x="15405" y="24395"/>
                      </a:moveTo>
                      <a:cubicBezTo>
                        <a:pt x="20632" y="16585"/>
                        <a:pt x="29281" y="10584"/>
                        <a:pt x="36789" y="13060"/>
                      </a:cubicBezTo>
                      <a:cubicBezTo>
                        <a:pt x="38404" y="13546"/>
                        <a:pt x="39992" y="14118"/>
                        <a:pt x="41541" y="14775"/>
                      </a:cubicBezTo>
                      <a:cubicBezTo>
                        <a:pt x="43917" y="15727"/>
                        <a:pt x="46293" y="16871"/>
                        <a:pt x="48574" y="18014"/>
                      </a:cubicBezTo>
                      <a:lnTo>
                        <a:pt x="57222" y="22585"/>
                      </a:lnTo>
                      <a:lnTo>
                        <a:pt x="57792" y="22585"/>
                      </a:lnTo>
                      <a:cubicBezTo>
                        <a:pt x="63190" y="25519"/>
                        <a:pt x="67885" y="29577"/>
                        <a:pt x="71573" y="34492"/>
                      </a:cubicBezTo>
                      <a:cubicBezTo>
                        <a:pt x="74576" y="38607"/>
                        <a:pt x="75802" y="43750"/>
                        <a:pt x="74994" y="48779"/>
                      </a:cubicBezTo>
                      <a:cubicBezTo>
                        <a:pt x="74452" y="52437"/>
                        <a:pt x="73017" y="55904"/>
                        <a:pt x="70812" y="58876"/>
                      </a:cubicBezTo>
                      <a:cubicBezTo>
                        <a:pt x="69064" y="61076"/>
                        <a:pt x="67049" y="63057"/>
                        <a:pt x="64825" y="64781"/>
                      </a:cubicBezTo>
                      <a:cubicBezTo>
                        <a:pt x="56709" y="72677"/>
                        <a:pt x="45038" y="75687"/>
                        <a:pt x="34128" y="72687"/>
                      </a:cubicBezTo>
                      <a:cubicBezTo>
                        <a:pt x="30326" y="71458"/>
                        <a:pt x="26658" y="69830"/>
                        <a:pt x="23198" y="67829"/>
                      </a:cubicBezTo>
                      <a:cubicBezTo>
                        <a:pt x="19777" y="65810"/>
                        <a:pt x="16584" y="63410"/>
                        <a:pt x="13695" y="60685"/>
                      </a:cubicBezTo>
                      <a:cubicBezTo>
                        <a:pt x="7479" y="54828"/>
                        <a:pt x="5483" y="45760"/>
                        <a:pt x="8658" y="37825"/>
                      </a:cubicBezTo>
                      <a:cubicBezTo>
                        <a:pt x="10454" y="33158"/>
                        <a:pt x="12716" y="28691"/>
                        <a:pt x="15405" y="24491"/>
                      </a:cubicBezTo>
                      <a:close/>
                    </a:path>
                  </a:pathLst>
                </a:custGeom>
                <a:solidFill>
                  <a:srgbClr val="2B303F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9" name="Google Shape;826;p18">
                  <a:extLst>
                    <a:ext uri="{FF2B5EF4-FFF2-40B4-BE49-F238E27FC236}">
                      <a16:creationId xmlns:a16="http://schemas.microsoft.com/office/drawing/2014/main" id="{2FCC6F46-3606-4D0E-BC6A-619174EDD686}"/>
                    </a:ext>
                  </a:extLst>
                </p:cNvPr>
                <p:cNvSpPr/>
                <p:nvPr/>
              </p:nvSpPr>
              <p:spPr>
                <a:xfrm>
                  <a:off x="5752081" y="4128325"/>
                  <a:ext cx="64221" cy="49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4221" h="49275" extrusionOk="0">
                      <a:moveTo>
                        <a:pt x="57569" y="40196"/>
                      </a:moveTo>
                      <a:cubicBezTo>
                        <a:pt x="49481" y="48149"/>
                        <a:pt x="37782" y="51159"/>
                        <a:pt x="26872" y="48101"/>
                      </a:cubicBezTo>
                      <a:cubicBezTo>
                        <a:pt x="23118" y="46987"/>
                        <a:pt x="19487" y="45491"/>
                        <a:pt x="16037" y="43624"/>
                      </a:cubicBezTo>
                      <a:cubicBezTo>
                        <a:pt x="12597" y="41634"/>
                        <a:pt x="9404" y="39233"/>
                        <a:pt x="6534" y="36481"/>
                      </a:cubicBezTo>
                      <a:cubicBezTo>
                        <a:pt x="309" y="30671"/>
                        <a:pt x="-1687" y="21622"/>
                        <a:pt x="1497" y="13716"/>
                      </a:cubicBezTo>
                      <a:cubicBezTo>
                        <a:pt x="3369" y="8896"/>
                        <a:pt x="5754" y="4296"/>
                        <a:pt x="8624" y="0"/>
                      </a:cubicBezTo>
                      <a:lnTo>
                        <a:pt x="8624" y="0"/>
                      </a:lnTo>
                      <a:cubicBezTo>
                        <a:pt x="5992" y="4010"/>
                        <a:pt x="3797" y="8287"/>
                        <a:pt x="2067" y="12763"/>
                      </a:cubicBezTo>
                      <a:cubicBezTo>
                        <a:pt x="-1107" y="20698"/>
                        <a:pt x="888" y="29766"/>
                        <a:pt x="7104" y="35623"/>
                      </a:cubicBezTo>
                      <a:cubicBezTo>
                        <a:pt x="9993" y="38348"/>
                        <a:pt x="13186" y="40748"/>
                        <a:pt x="16608" y="42767"/>
                      </a:cubicBezTo>
                      <a:cubicBezTo>
                        <a:pt x="20067" y="44767"/>
                        <a:pt x="23735" y="46396"/>
                        <a:pt x="27537" y="47625"/>
                      </a:cubicBezTo>
                      <a:cubicBezTo>
                        <a:pt x="38447" y="50625"/>
                        <a:pt x="50118" y="47615"/>
                        <a:pt x="58234" y="39719"/>
                      </a:cubicBezTo>
                      <a:cubicBezTo>
                        <a:pt x="60439" y="38005"/>
                        <a:pt x="62444" y="36061"/>
                        <a:pt x="64222" y="33909"/>
                      </a:cubicBezTo>
                      <a:lnTo>
                        <a:pt x="63556" y="34099"/>
                      </a:lnTo>
                      <a:cubicBezTo>
                        <a:pt x="61827" y="36376"/>
                        <a:pt x="59812" y="38424"/>
                        <a:pt x="57569" y="40196"/>
                      </a:cubicBezTo>
                      <a:close/>
                    </a:path>
                  </a:pathLst>
                </a:custGeom>
                <a:solidFill>
                  <a:srgbClr val="1F232D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10" name="Google Shape;827;p18">
                  <a:extLst>
                    <a:ext uri="{FF2B5EF4-FFF2-40B4-BE49-F238E27FC236}">
                      <a16:creationId xmlns:a16="http://schemas.microsoft.com/office/drawing/2014/main" id="{0E7C0719-6D9D-4E70-8E2B-ED3E79D756CA}"/>
                    </a:ext>
                  </a:extLst>
                </p:cNvPr>
                <p:cNvSpPr/>
                <p:nvPr/>
              </p:nvSpPr>
              <p:spPr>
                <a:xfrm>
                  <a:off x="5833480" y="4174426"/>
                  <a:ext cx="68642" cy="5161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642" h="51616" extrusionOk="0">
                      <a:moveTo>
                        <a:pt x="57428" y="44577"/>
                      </a:moveTo>
                      <a:cubicBezTo>
                        <a:pt x="50139" y="51044"/>
                        <a:pt x="40027" y="53245"/>
                        <a:pt x="30722" y="50387"/>
                      </a:cubicBezTo>
                      <a:cubicBezTo>
                        <a:pt x="26465" y="49044"/>
                        <a:pt x="22350" y="47254"/>
                        <a:pt x="18463" y="45053"/>
                      </a:cubicBezTo>
                      <a:cubicBezTo>
                        <a:pt x="14870" y="42948"/>
                        <a:pt x="11458" y="40529"/>
                        <a:pt x="8293" y="37814"/>
                      </a:cubicBezTo>
                      <a:cubicBezTo>
                        <a:pt x="310" y="30337"/>
                        <a:pt x="-2189" y="18679"/>
                        <a:pt x="2021" y="8572"/>
                      </a:cubicBezTo>
                      <a:cubicBezTo>
                        <a:pt x="2772" y="5953"/>
                        <a:pt x="3827" y="3429"/>
                        <a:pt x="5157" y="1048"/>
                      </a:cubicBezTo>
                      <a:lnTo>
                        <a:pt x="5917" y="0"/>
                      </a:lnTo>
                      <a:cubicBezTo>
                        <a:pt x="4616" y="2343"/>
                        <a:pt x="3589" y="4839"/>
                        <a:pt x="2876" y="7429"/>
                      </a:cubicBezTo>
                      <a:cubicBezTo>
                        <a:pt x="-1381" y="17497"/>
                        <a:pt x="1128" y="29165"/>
                        <a:pt x="9149" y="36576"/>
                      </a:cubicBezTo>
                      <a:cubicBezTo>
                        <a:pt x="12266" y="39348"/>
                        <a:pt x="15678" y="41777"/>
                        <a:pt x="19318" y="43815"/>
                      </a:cubicBezTo>
                      <a:cubicBezTo>
                        <a:pt x="23224" y="46006"/>
                        <a:pt x="27330" y="47825"/>
                        <a:pt x="31578" y="49244"/>
                      </a:cubicBezTo>
                      <a:cubicBezTo>
                        <a:pt x="40901" y="52073"/>
                        <a:pt x="51013" y="49835"/>
                        <a:pt x="58283" y="43339"/>
                      </a:cubicBezTo>
                      <a:cubicBezTo>
                        <a:pt x="62142" y="39881"/>
                        <a:pt x="65620" y="36023"/>
                        <a:pt x="68643" y="31813"/>
                      </a:cubicBezTo>
                      <a:lnTo>
                        <a:pt x="68643" y="31813"/>
                      </a:lnTo>
                      <a:cubicBezTo>
                        <a:pt x="65440" y="36509"/>
                        <a:pt x="61667" y="40795"/>
                        <a:pt x="57428" y="44577"/>
                      </a:cubicBezTo>
                      <a:close/>
                    </a:path>
                  </a:pathLst>
                </a:custGeom>
                <a:solidFill>
                  <a:srgbClr val="1F232D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11" name="Google Shape;828;p18">
                  <a:extLst>
                    <a:ext uri="{FF2B5EF4-FFF2-40B4-BE49-F238E27FC236}">
                      <a16:creationId xmlns:a16="http://schemas.microsoft.com/office/drawing/2014/main" id="{360CE84C-44B8-4AFA-A0F2-083E23E4FEBF}"/>
                    </a:ext>
                  </a:extLst>
                </p:cNvPr>
                <p:cNvSpPr/>
                <p:nvPr/>
              </p:nvSpPr>
              <p:spPr>
                <a:xfrm>
                  <a:off x="5752373" y="4115091"/>
                  <a:ext cx="68187" cy="6161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187" h="61619" extrusionOk="0">
                      <a:moveTo>
                        <a:pt x="64786" y="21997"/>
                      </a:moveTo>
                      <a:cubicBezTo>
                        <a:pt x="61098" y="17082"/>
                        <a:pt x="56403" y="13024"/>
                        <a:pt x="51005" y="10090"/>
                      </a:cubicBezTo>
                      <a:lnTo>
                        <a:pt x="50435" y="10090"/>
                      </a:lnTo>
                      <a:lnTo>
                        <a:pt x="41787" y="5518"/>
                      </a:lnTo>
                      <a:cubicBezTo>
                        <a:pt x="39506" y="4375"/>
                        <a:pt x="37130" y="3232"/>
                        <a:pt x="34754" y="2280"/>
                      </a:cubicBezTo>
                      <a:cubicBezTo>
                        <a:pt x="33205" y="1623"/>
                        <a:pt x="31617" y="1051"/>
                        <a:pt x="30002" y="565"/>
                      </a:cubicBezTo>
                      <a:cubicBezTo>
                        <a:pt x="22494" y="-1911"/>
                        <a:pt x="13845" y="4090"/>
                        <a:pt x="8618" y="11900"/>
                      </a:cubicBezTo>
                      <a:cubicBezTo>
                        <a:pt x="5767" y="16205"/>
                        <a:pt x="3382" y="20806"/>
                        <a:pt x="1490" y="25616"/>
                      </a:cubicBezTo>
                      <a:cubicBezTo>
                        <a:pt x="-1684" y="33551"/>
                        <a:pt x="312" y="42618"/>
                        <a:pt x="6527" y="48476"/>
                      </a:cubicBezTo>
                      <a:cubicBezTo>
                        <a:pt x="9417" y="51200"/>
                        <a:pt x="12610" y="53601"/>
                        <a:pt x="16031" y="55620"/>
                      </a:cubicBezTo>
                      <a:cubicBezTo>
                        <a:pt x="19491" y="57620"/>
                        <a:pt x="23159" y="59249"/>
                        <a:pt x="26960" y="60478"/>
                      </a:cubicBezTo>
                      <a:cubicBezTo>
                        <a:pt x="37871" y="63478"/>
                        <a:pt x="49542" y="60468"/>
                        <a:pt x="57658" y="52572"/>
                      </a:cubicBezTo>
                      <a:cubicBezTo>
                        <a:pt x="59882" y="50848"/>
                        <a:pt x="61896" y="48867"/>
                        <a:pt x="63645" y="46666"/>
                      </a:cubicBezTo>
                      <a:cubicBezTo>
                        <a:pt x="65850" y="43695"/>
                        <a:pt x="67285" y="40228"/>
                        <a:pt x="67827" y="36570"/>
                      </a:cubicBezTo>
                      <a:cubicBezTo>
                        <a:pt x="68825" y="31503"/>
                        <a:pt x="67732" y="26235"/>
                        <a:pt x="64786" y="21997"/>
                      </a:cubicBezTo>
                      <a:close/>
                    </a:path>
                  </a:pathLst>
                </a:custGeom>
                <a:solidFill>
                  <a:srgbClr val="000000">
                    <a:alpha val="298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79" name="Google Shape;829;p18">
                <a:extLst>
                  <a:ext uri="{FF2B5EF4-FFF2-40B4-BE49-F238E27FC236}">
                    <a16:creationId xmlns:a16="http://schemas.microsoft.com/office/drawing/2014/main" id="{D86BB799-C6EC-4F2B-9B74-86AC34DD037A}"/>
                  </a:ext>
                </a:extLst>
              </p:cNvPr>
              <p:cNvGrpSpPr/>
              <p:nvPr/>
            </p:nvGrpSpPr>
            <p:grpSpPr>
              <a:xfrm flipH="1">
                <a:off x="3829267" y="2465054"/>
                <a:ext cx="683694" cy="518573"/>
                <a:chOff x="6621095" y="1452181"/>
                <a:chExt cx="330894" cy="250785"/>
              </a:xfrm>
            </p:grpSpPr>
            <p:sp>
              <p:nvSpPr>
                <p:cNvPr id="98" name="Google Shape;830;p18">
                  <a:extLst>
                    <a:ext uri="{FF2B5EF4-FFF2-40B4-BE49-F238E27FC236}">
                      <a16:creationId xmlns:a16="http://schemas.microsoft.com/office/drawing/2014/main" id="{FE72B3D8-86A4-4CDA-BAA5-C53E0DC80F92}"/>
                    </a:ext>
                  </a:extLst>
                </p:cNvPr>
                <p:cNvSpPr/>
                <p:nvPr/>
              </p:nvSpPr>
              <p:spPr>
                <a:xfrm>
                  <a:off x="6648789" y="1521520"/>
                  <a:ext cx="303199" cy="174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199" h="174500" extrusionOk="0">
                      <a:moveTo>
                        <a:pt x="0" y="63249"/>
                      </a:moveTo>
                      <a:lnTo>
                        <a:pt x="107878" y="860"/>
                      </a:lnTo>
                      <a:cubicBezTo>
                        <a:pt x="109779" y="-287"/>
                        <a:pt x="112155" y="-287"/>
                        <a:pt x="114056" y="860"/>
                      </a:cubicBezTo>
                      <a:lnTo>
                        <a:pt x="303200" y="110302"/>
                      </a:lnTo>
                      <a:lnTo>
                        <a:pt x="192280" y="174501"/>
                      </a:ln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99" name="Google Shape;831;p18">
                  <a:extLst>
                    <a:ext uri="{FF2B5EF4-FFF2-40B4-BE49-F238E27FC236}">
                      <a16:creationId xmlns:a16="http://schemas.microsoft.com/office/drawing/2014/main" id="{E2711165-790F-4F30-BC27-6848896569B8}"/>
                    </a:ext>
                  </a:extLst>
                </p:cNvPr>
                <p:cNvSpPr/>
                <p:nvPr/>
              </p:nvSpPr>
              <p:spPr>
                <a:xfrm>
                  <a:off x="6790409" y="1564671"/>
                  <a:ext cx="79173" cy="45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9173" h="45815" extrusionOk="0">
                      <a:moveTo>
                        <a:pt x="79174" y="29242"/>
                      </a:moveTo>
                      <a:lnTo>
                        <a:pt x="50660" y="45815"/>
                      </a:lnTo>
                      <a:lnTo>
                        <a:pt x="0" y="16478"/>
                      </a:lnTo>
                      <a:lnTo>
                        <a:pt x="28514" y="0"/>
                      </a:lnTo>
                      <a:lnTo>
                        <a:pt x="79174" y="29242"/>
                      </a:lnTo>
                      <a:close/>
                    </a:path>
                  </a:pathLst>
                </a:custGeom>
                <a:solidFill>
                  <a:srgbClr val="000000">
                    <a:alpha val="14900"/>
                  </a:srgbClr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0" name="Google Shape;832;p18">
                  <a:extLst>
                    <a:ext uri="{FF2B5EF4-FFF2-40B4-BE49-F238E27FC236}">
                      <a16:creationId xmlns:a16="http://schemas.microsoft.com/office/drawing/2014/main" id="{D7DD2BCE-14A2-4092-A208-A45425ED3683}"/>
                    </a:ext>
                  </a:extLst>
                </p:cNvPr>
                <p:cNvSpPr/>
                <p:nvPr/>
              </p:nvSpPr>
              <p:spPr>
                <a:xfrm>
                  <a:off x="6648780" y="1584674"/>
                  <a:ext cx="303209" cy="11829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3209" h="118292" extrusionOk="0">
                      <a:moveTo>
                        <a:pt x="303209" y="47149"/>
                      </a:moveTo>
                      <a:lnTo>
                        <a:pt x="303209" y="49721"/>
                      </a:lnTo>
                      <a:cubicBezTo>
                        <a:pt x="303237" y="53440"/>
                        <a:pt x="301279" y="56892"/>
                        <a:pt x="298076" y="58769"/>
                      </a:cubicBezTo>
                      <a:lnTo>
                        <a:pt x="197517" y="116872"/>
                      </a:lnTo>
                      <a:cubicBezTo>
                        <a:pt x="194323" y="118766"/>
                        <a:pt x="190350" y="118766"/>
                        <a:pt x="187157" y="116872"/>
                      </a:cubicBezTo>
                      <a:lnTo>
                        <a:pt x="5237" y="12097"/>
                      </a:lnTo>
                      <a:cubicBezTo>
                        <a:pt x="1863" y="10147"/>
                        <a:pt x="-153" y="6475"/>
                        <a:pt x="9" y="2572"/>
                      </a:cubicBezTo>
                      <a:lnTo>
                        <a:pt x="9" y="0"/>
                      </a:lnTo>
                      <a:lnTo>
                        <a:pt x="192289" y="111252"/>
                      </a:ln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1" name="Google Shape;833;p18">
                  <a:extLst>
                    <a:ext uri="{FF2B5EF4-FFF2-40B4-BE49-F238E27FC236}">
                      <a16:creationId xmlns:a16="http://schemas.microsoft.com/office/drawing/2014/main" id="{497D4698-DD36-4AA0-AE87-02A8F24EDF33}"/>
                    </a:ext>
                  </a:extLst>
                </p:cNvPr>
                <p:cNvSpPr/>
                <p:nvPr/>
              </p:nvSpPr>
              <p:spPr>
                <a:xfrm>
                  <a:off x="6621095" y="1454086"/>
                  <a:ext cx="217122" cy="244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7122" h="244320" extrusionOk="0">
                      <a:moveTo>
                        <a:pt x="217123" y="243459"/>
                      </a:moveTo>
                      <a:cubicBezTo>
                        <a:pt x="213644" y="244834"/>
                        <a:pt x="209728" y="244552"/>
                        <a:pt x="206478" y="242697"/>
                      </a:cubicBezTo>
                      <a:lnTo>
                        <a:pt x="25888" y="137922"/>
                      </a:lnTo>
                      <a:cubicBezTo>
                        <a:pt x="22695" y="136081"/>
                        <a:pt x="20499" y="132899"/>
                        <a:pt x="19900" y="129254"/>
                      </a:cubicBezTo>
                      <a:lnTo>
                        <a:pt x="36" y="10763"/>
                      </a:lnTo>
                      <a:cubicBezTo>
                        <a:pt x="-12" y="10097"/>
                        <a:pt x="-12" y="9429"/>
                        <a:pt x="36" y="8763"/>
                      </a:cubicBezTo>
                      <a:cubicBezTo>
                        <a:pt x="26" y="5457"/>
                        <a:pt x="1366" y="2291"/>
                        <a:pt x="3743" y="0"/>
                      </a:cubicBezTo>
                      <a:lnTo>
                        <a:pt x="191935" y="108871"/>
                      </a:lnTo>
                      <a:cubicBezTo>
                        <a:pt x="194226" y="110281"/>
                        <a:pt x="195813" y="112601"/>
                        <a:pt x="196307" y="115252"/>
                      </a:cubicBezTo>
                      <a:close/>
                    </a:path>
                  </a:pathLst>
                </a:custGeom>
                <a:solidFill>
                  <a:srgbClr val="F4F4F4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02" name="Google Shape;834;p18">
                  <a:extLst>
                    <a:ext uri="{FF2B5EF4-FFF2-40B4-BE49-F238E27FC236}">
                      <a16:creationId xmlns:a16="http://schemas.microsoft.com/office/drawing/2014/main" id="{45E02D36-FB8F-4370-900C-C93D1EE60E7B}"/>
                    </a:ext>
                  </a:extLst>
                </p:cNvPr>
                <p:cNvSpPr/>
                <p:nvPr/>
              </p:nvSpPr>
              <p:spPr>
                <a:xfrm>
                  <a:off x="6624647" y="1452181"/>
                  <a:ext cx="216421" cy="2453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421" h="245364" extrusionOk="0">
                      <a:moveTo>
                        <a:pt x="216422" y="243840"/>
                      </a:moveTo>
                      <a:lnTo>
                        <a:pt x="215186" y="244602"/>
                      </a:lnTo>
                      <a:lnTo>
                        <a:pt x="213570" y="245364"/>
                      </a:lnTo>
                      <a:lnTo>
                        <a:pt x="192090" y="117157"/>
                      </a:lnTo>
                      <a:cubicBezTo>
                        <a:pt x="191596" y="114506"/>
                        <a:pt x="190008" y="112186"/>
                        <a:pt x="187718" y="110776"/>
                      </a:cubicBezTo>
                      <a:lnTo>
                        <a:pt x="0" y="1905"/>
                      </a:lnTo>
                      <a:cubicBezTo>
                        <a:pt x="694" y="1117"/>
                        <a:pt x="1530" y="471"/>
                        <a:pt x="2471" y="0"/>
                      </a:cubicBezTo>
                      <a:lnTo>
                        <a:pt x="191044" y="109061"/>
                      </a:lnTo>
                      <a:cubicBezTo>
                        <a:pt x="193373" y="110453"/>
                        <a:pt x="194998" y="112774"/>
                        <a:pt x="195512" y="115443"/>
                      </a:cubicBezTo>
                      <a:close/>
                    </a:path>
                  </a:pathLst>
                </a:custGeom>
                <a:solidFill>
                  <a:srgbClr val="E5E5E5"/>
                </a:solidFill>
                <a:ln>
                  <a:noFill/>
                </a:ln>
              </p:spPr>
              <p:txBody>
                <a:bodyPr spcFirstLastPara="1" wrap="square" lIns="121900" tIns="60933" rIns="121900" bIns="60933" anchor="ctr" anchorCtr="0">
                  <a:noAutofit/>
                </a:bodyPr>
                <a:lstStyle/>
                <a:p>
                  <a:endParaRPr sz="2400" dirty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80" name="Google Shape;835;p18">
                <a:extLst>
                  <a:ext uri="{FF2B5EF4-FFF2-40B4-BE49-F238E27FC236}">
                    <a16:creationId xmlns:a16="http://schemas.microsoft.com/office/drawing/2014/main" id="{0D5E4AFB-666B-4210-950A-8D2FA2FD4F4A}"/>
                  </a:ext>
                </a:extLst>
              </p:cNvPr>
              <p:cNvSpPr/>
              <p:nvPr/>
            </p:nvSpPr>
            <p:spPr>
              <a:xfrm rot="-1803147">
                <a:off x="6082659" y="320502"/>
                <a:ext cx="40427" cy="70097"/>
              </a:xfrm>
              <a:custGeom>
                <a:avLst/>
                <a:gdLst/>
                <a:ahLst/>
                <a:cxnLst/>
                <a:rect l="l" t="t" r="r" b="b"/>
                <a:pathLst>
                  <a:path w="49989" h="86677" extrusionOk="0">
                    <a:moveTo>
                      <a:pt x="49990" y="43339"/>
                    </a:moveTo>
                    <a:cubicBezTo>
                      <a:pt x="49990" y="67274"/>
                      <a:pt x="38799" y="86678"/>
                      <a:pt x="24995" y="86678"/>
                    </a:cubicBezTo>
                    <a:cubicBezTo>
                      <a:pt x="11190" y="86678"/>
                      <a:pt x="0" y="67274"/>
                      <a:pt x="0" y="43339"/>
                    </a:cubicBezTo>
                    <a:cubicBezTo>
                      <a:pt x="0" y="19403"/>
                      <a:pt x="11190" y="0"/>
                      <a:pt x="24995" y="0"/>
                    </a:cubicBezTo>
                    <a:cubicBezTo>
                      <a:pt x="38799" y="0"/>
                      <a:pt x="49990" y="19403"/>
                      <a:pt x="49990" y="43339"/>
                    </a:cubicBezTo>
                    <a:close/>
                  </a:path>
                </a:pathLst>
              </a:custGeom>
              <a:solidFill>
                <a:srgbClr val="D6D8E5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36;p18">
                <a:extLst>
                  <a:ext uri="{FF2B5EF4-FFF2-40B4-BE49-F238E27FC236}">
                    <a16:creationId xmlns:a16="http://schemas.microsoft.com/office/drawing/2014/main" id="{ACFADA93-37E0-4137-9B7E-CD5D3A7F5E52}"/>
                  </a:ext>
                </a:extLst>
              </p:cNvPr>
              <p:cNvSpPr/>
              <p:nvPr/>
            </p:nvSpPr>
            <p:spPr>
              <a:xfrm>
                <a:off x="5777153" y="2115925"/>
                <a:ext cx="669353" cy="387341"/>
              </a:xfrm>
              <a:custGeom>
                <a:avLst/>
                <a:gdLst/>
                <a:ahLst/>
                <a:cxnLst/>
                <a:rect l="l" t="t" r="r" b="b"/>
                <a:pathLst>
                  <a:path w="828920" h="479679" extrusionOk="0">
                    <a:moveTo>
                      <a:pt x="828920" y="239840"/>
                    </a:moveTo>
                    <a:cubicBezTo>
                      <a:pt x="828920" y="372299"/>
                      <a:pt x="643360" y="479679"/>
                      <a:pt x="414460" y="479679"/>
                    </a:cubicBezTo>
                    <a:cubicBezTo>
                      <a:pt x="185560" y="479679"/>
                      <a:pt x="0" y="372299"/>
                      <a:pt x="0" y="239840"/>
                    </a:cubicBezTo>
                    <a:cubicBezTo>
                      <a:pt x="0" y="107380"/>
                      <a:pt x="185560" y="0"/>
                      <a:pt x="414460" y="0"/>
                    </a:cubicBezTo>
                    <a:cubicBezTo>
                      <a:pt x="643360" y="0"/>
                      <a:pt x="828920" y="107380"/>
                      <a:pt x="828920" y="239840"/>
                    </a:cubicBezTo>
                    <a:close/>
                  </a:path>
                </a:pathLst>
              </a:custGeom>
              <a:solidFill>
                <a:srgbClr val="D6D8E5">
                  <a:alpha val="40000"/>
                </a:srgbClr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" name="Google Shape;837;p18">
                <a:extLst>
                  <a:ext uri="{FF2B5EF4-FFF2-40B4-BE49-F238E27FC236}">
                    <a16:creationId xmlns:a16="http://schemas.microsoft.com/office/drawing/2014/main" id="{7C8E9DDC-E90B-44DF-8BF8-08EB96871C31}"/>
                  </a:ext>
                </a:extLst>
              </p:cNvPr>
              <p:cNvSpPr/>
              <p:nvPr/>
            </p:nvSpPr>
            <p:spPr>
              <a:xfrm>
                <a:off x="5964040" y="276791"/>
                <a:ext cx="375852" cy="551229"/>
              </a:xfrm>
              <a:custGeom>
                <a:avLst/>
                <a:gdLst/>
                <a:ahLst/>
                <a:cxnLst/>
                <a:rect l="l" t="t" r="r" b="b"/>
                <a:pathLst>
                  <a:path w="465451" h="682637" extrusionOk="0">
                    <a:moveTo>
                      <a:pt x="164035" y="22597"/>
                    </a:moveTo>
                    <a:cubicBezTo>
                      <a:pt x="182568" y="-7216"/>
                      <a:pt x="324079" y="-26837"/>
                      <a:pt x="370648" y="93368"/>
                    </a:cubicBezTo>
                    <a:cubicBezTo>
                      <a:pt x="388325" y="138898"/>
                      <a:pt x="385569" y="255293"/>
                      <a:pt x="400299" y="328540"/>
                    </a:cubicBezTo>
                    <a:cubicBezTo>
                      <a:pt x="415030" y="401788"/>
                      <a:pt x="449909" y="442840"/>
                      <a:pt x="462359" y="502562"/>
                    </a:cubicBezTo>
                    <a:cubicBezTo>
                      <a:pt x="474809" y="562284"/>
                      <a:pt x="454471" y="661534"/>
                      <a:pt x="311724" y="679060"/>
                    </a:cubicBezTo>
                    <a:cubicBezTo>
                      <a:pt x="168977" y="696586"/>
                      <a:pt x="59209" y="646390"/>
                      <a:pt x="25470" y="600765"/>
                    </a:cubicBezTo>
                    <a:cubicBezTo>
                      <a:pt x="-8268" y="555140"/>
                      <a:pt x="-8934" y="457890"/>
                      <a:pt x="26135" y="406169"/>
                    </a:cubicBezTo>
                    <a:cubicBezTo>
                      <a:pt x="61204" y="354448"/>
                      <a:pt x="87720" y="311776"/>
                      <a:pt x="86865" y="24424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" name="Google Shape;838;p18">
                <a:extLst>
                  <a:ext uri="{FF2B5EF4-FFF2-40B4-BE49-F238E27FC236}">
                    <a16:creationId xmlns:a16="http://schemas.microsoft.com/office/drawing/2014/main" id="{F4094CEE-371A-4FFE-9AE0-45FE86D5C5F6}"/>
                  </a:ext>
                </a:extLst>
              </p:cNvPr>
              <p:cNvSpPr/>
              <p:nvPr/>
            </p:nvSpPr>
            <p:spPr>
              <a:xfrm>
                <a:off x="5952425" y="673402"/>
                <a:ext cx="70057" cy="407712"/>
              </a:xfrm>
              <a:custGeom>
                <a:avLst/>
                <a:gdLst/>
                <a:ahLst/>
                <a:cxnLst/>
                <a:rect l="l" t="t" r="r" b="b"/>
                <a:pathLst>
                  <a:path w="86758" h="504907" extrusionOk="0">
                    <a:moveTo>
                      <a:pt x="8870" y="34023"/>
                    </a:moveTo>
                    <a:cubicBezTo>
                      <a:pt x="8870" y="34023"/>
                      <a:pt x="-24678" y="271196"/>
                      <a:pt x="38712" y="439789"/>
                    </a:cubicBezTo>
                    <a:cubicBezTo>
                      <a:pt x="102102" y="608381"/>
                      <a:pt x="84520" y="396355"/>
                      <a:pt x="84520" y="396355"/>
                    </a:cubicBezTo>
                    <a:lnTo>
                      <a:pt x="69314" y="345967"/>
                    </a:lnTo>
                    <a:cubicBezTo>
                      <a:pt x="69314" y="345967"/>
                      <a:pt x="56579" y="152038"/>
                      <a:pt x="61807" y="104508"/>
                    </a:cubicBezTo>
                    <a:cubicBezTo>
                      <a:pt x="67033" y="56979"/>
                      <a:pt x="65798" y="16116"/>
                      <a:pt x="69314" y="12306"/>
                    </a:cubicBezTo>
                    <a:cubicBezTo>
                      <a:pt x="72831" y="8497"/>
                      <a:pt x="56674" y="972"/>
                      <a:pt x="50307" y="19"/>
                    </a:cubicBezTo>
                    <a:cubicBezTo>
                      <a:pt x="43939" y="-933"/>
                      <a:pt x="8870" y="34023"/>
                      <a:pt x="8870" y="34023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" name="Google Shape;839;p18">
                <a:extLst>
                  <a:ext uri="{FF2B5EF4-FFF2-40B4-BE49-F238E27FC236}">
                    <a16:creationId xmlns:a16="http://schemas.microsoft.com/office/drawing/2014/main" id="{B5037213-98C6-44B6-9571-9F2FBE2706B6}"/>
                  </a:ext>
                </a:extLst>
              </p:cNvPr>
              <p:cNvSpPr/>
              <p:nvPr/>
            </p:nvSpPr>
            <p:spPr>
              <a:xfrm>
                <a:off x="5992903" y="271657"/>
                <a:ext cx="179035" cy="222681"/>
              </a:xfrm>
              <a:custGeom>
                <a:avLst/>
                <a:gdLst/>
                <a:ahLst/>
                <a:cxnLst/>
                <a:rect l="l" t="t" r="r" b="b"/>
                <a:pathLst>
                  <a:path w="221715" h="275766" extrusionOk="0">
                    <a:moveTo>
                      <a:pt x="221716" y="8191"/>
                    </a:moveTo>
                    <a:cubicBezTo>
                      <a:pt x="221716" y="8191"/>
                      <a:pt x="115178" y="-22575"/>
                      <a:pt x="50648" y="35147"/>
                    </a:cubicBezTo>
                    <a:cubicBezTo>
                      <a:pt x="-8371" y="87915"/>
                      <a:pt x="-3429" y="159734"/>
                      <a:pt x="5125" y="193452"/>
                    </a:cubicBezTo>
                    <a:cubicBezTo>
                      <a:pt x="13678" y="227171"/>
                      <a:pt x="30975" y="273176"/>
                      <a:pt x="57681" y="275748"/>
                    </a:cubicBezTo>
                    <a:cubicBezTo>
                      <a:pt x="84386" y="278320"/>
                      <a:pt x="221716" y="8191"/>
                      <a:pt x="221716" y="8191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40;p18">
                <a:extLst>
                  <a:ext uri="{FF2B5EF4-FFF2-40B4-BE49-F238E27FC236}">
                    <a16:creationId xmlns:a16="http://schemas.microsoft.com/office/drawing/2014/main" id="{3C4A39E4-F977-4CEC-9558-D7CBBEC8E5DA}"/>
                  </a:ext>
                </a:extLst>
              </p:cNvPr>
              <p:cNvSpPr/>
              <p:nvPr/>
            </p:nvSpPr>
            <p:spPr>
              <a:xfrm>
                <a:off x="6027515" y="513497"/>
                <a:ext cx="222025" cy="248990"/>
              </a:xfrm>
              <a:custGeom>
                <a:avLst/>
                <a:gdLst/>
                <a:ahLst/>
                <a:cxnLst/>
                <a:rect l="l" t="t" r="r" b="b"/>
                <a:pathLst>
                  <a:path w="274953" h="308347" extrusionOk="0">
                    <a:moveTo>
                      <a:pt x="219342" y="0"/>
                    </a:moveTo>
                    <a:cubicBezTo>
                      <a:pt x="219342" y="0"/>
                      <a:pt x="212310" y="119063"/>
                      <a:pt x="214495" y="127825"/>
                    </a:cubicBezTo>
                    <a:cubicBezTo>
                      <a:pt x="216681" y="136588"/>
                      <a:pt x="261159" y="144971"/>
                      <a:pt x="273609" y="155353"/>
                    </a:cubicBezTo>
                    <a:cubicBezTo>
                      <a:pt x="286059" y="165735"/>
                      <a:pt x="208983" y="286512"/>
                      <a:pt x="169828" y="304419"/>
                    </a:cubicBezTo>
                    <a:cubicBezTo>
                      <a:pt x="130672" y="322326"/>
                      <a:pt x="9308" y="276606"/>
                      <a:pt x="945" y="216122"/>
                    </a:cubicBezTo>
                    <a:cubicBezTo>
                      <a:pt x="-6848" y="160401"/>
                      <a:pt x="35634" y="117158"/>
                      <a:pt x="51981" y="101822"/>
                    </a:cubicBezTo>
                    <a:cubicBezTo>
                      <a:pt x="63100" y="100841"/>
                      <a:pt x="74276" y="100555"/>
                      <a:pt x="85434" y="100965"/>
                    </a:cubicBezTo>
                    <a:lnTo>
                      <a:pt x="89045" y="43243"/>
                    </a:lnTo>
                    <a:cubicBezTo>
                      <a:pt x="142457" y="26575"/>
                      <a:pt x="219342" y="0"/>
                      <a:pt x="219342" y="0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" name="Google Shape;841;p18">
                <a:extLst>
                  <a:ext uri="{FF2B5EF4-FFF2-40B4-BE49-F238E27FC236}">
                    <a16:creationId xmlns:a16="http://schemas.microsoft.com/office/drawing/2014/main" id="{3F51D929-213C-4307-B337-B66B6AFBB80D}"/>
                  </a:ext>
                </a:extLst>
              </p:cNvPr>
              <p:cNvSpPr/>
              <p:nvPr/>
            </p:nvSpPr>
            <p:spPr>
              <a:xfrm>
                <a:off x="5963282" y="594790"/>
                <a:ext cx="323371" cy="372912"/>
              </a:xfrm>
              <a:custGeom>
                <a:avLst/>
                <a:gdLst/>
                <a:ahLst/>
                <a:cxnLst/>
                <a:rect l="l" t="t" r="r" b="b"/>
                <a:pathLst>
                  <a:path w="400459" h="461811" extrusionOk="0">
                    <a:moveTo>
                      <a:pt x="315417" y="38688"/>
                    </a:moveTo>
                    <a:cubicBezTo>
                      <a:pt x="348776" y="43832"/>
                      <a:pt x="386981" y="61739"/>
                      <a:pt x="392208" y="80027"/>
                    </a:cubicBezTo>
                    <a:cubicBezTo>
                      <a:pt x="398290" y="101363"/>
                      <a:pt x="411216" y="202042"/>
                      <a:pt x="382704" y="278718"/>
                    </a:cubicBezTo>
                    <a:cubicBezTo>
                      <a:pt x="354193" y="355394"/>
                      <a:pt x="334330" y="404067"/>
                      <a:pt x="317793" y="437024"/>
                    </a:cubicBezTo>
                    <a:cubicBezTo>
                      <a:pt x="317793" y="437024"/>
                      <a:pt x="173431" y="499126"/>
                      <a:pt x="57009" y="426737"/>
                    </a:cubicBezTo>
                    <a:cubicBezTo>
                      <a:pt x="57009" y="426737"/>
                      <a:pt x="49026" y="344631"/>
                      <a:pt x="48456" y="300721"/>
                    </a:cubicBezTo>
                    <a:cubicBezTo>
                      <a:pt x="-58937" y="206804"/>
                      <a:pt x="32870" y="91171"/>
                      <a:pt x="123916" y="969"/>
                    </a:cubicBezTo>
                    <a:cubicBezTo>
                      <a:pt x="134807" y="-136"/>
                      <a:pt x="145784" y="-298"/>
                      <a:pt x="156704" y="493"/>
                    </a:cubicBezTo>
                    <a:cubicBezTo>
                      <a:pt x="156704" y="493"/>
                      <a:pt x="75447" y="96791"/>
                      <a:pt x="131899" y="151464"/>
                    </a:cubicBezTo>
                    <a:cubicBezTo>
                      <a:pt x="252693" y="114793"/>
                      <a:pt x="276737" y="60405"/>
                      <a:pt x="315417" y="38688"/>
                    </a:cubicBezTo>
                    <a:close/>
                  </a:path>
                </a:pathLst>
              </a:custGeom>
              <a:solidFill>
                <a:srgbClr val="F4F4F4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" name="Google Shape;842;p18">
                <a:extLst>
                  <a:ext uri="{FF2B5EF4-FFF2-40B4-BE49-F238E27FC236}">
                    <a16:creationId xmlns:a16="http://schemas.microsoft.com/office/drawing/2014/main" id="{2F85A6A0-6D38-4293-8748-40D80AE75C11}"/>
                  </a:ext>
                </a:extLst>
              </p:cNvPr>
              <p:cNvSpPr/>
              <p:nvPr/>
            </p:nvSpPr>
            <p:spPr>
              <a:xfrm>
                <a:off x="6020709" y="289521"/>
                <a:ext cx="238064" cy="294179"/>
              </a:xfrm>
              <a:custGeom>
                <a:avLst/>
                <a:gdLst/>
                <a:ahLst/>
                <a:cxnLst/>
                <a:rect l="l" t="t" r="r" b="b"/>
                <a:pathLst>
                  <a:path w="294816" h="364308" extrusionOk="0">
                    <a:moveTo>
                      <a:pt x="6143" y="129898"/>
                    </a:moveTo>
                    <a:lnTo>
                      <a:pt x="6143" y="129898"/>
                    </a:lnTo>
                    <a:cubicBezTo>
                      <a:pt x="18118" y="53698"/>
                      <a:pt x="73240" y="-4405"/>
                      <a:pt x="151931" y="263"/>
                    </a:cubicBezTo>
                    <a:cubicBezTo>
                      <a:pt x="235318" y="4873"/>
                      <a:pt x="299183" y="76348"/>
                      <a:pt x="294583" y="159921"/>
                    </a:cubicBezTo>
                    <a:cubicBezTo>
                      <a:pt x="291970" y="207365"/>
                      <a:pt x="267307" y="250837"/>
                      <a:pt x="227961" y="277345"/>
                    </a:cubicBezTo>
                    <a:cubicBezTo>
                      <a:pt x="225244" y="288937"/>
                      <a:pt x="221157" y="300157"/>
                      <a:pt x="215797" y="310778"/>
                    </a:cubicBezTo>
                    <a:cubicBezTo>
                      <a:pt x="187855" y="343353"/>
                      <a:pt x="113916" y="363927"/>
                      <a:pt x="89492" y="364308"/>
                    </a:cubicBezTo>
                    <a:cubicBezTo>
                      <a:pt x="68298" y="364308"/>
                      <a:pt x="50146" y="344782"/>
                      <a:pt x="30283" y="311921"/>
                    </a:cubicBezTo>
                    <a:cubicBezTo>
                      <a:pt x="-10774" y="243436"/>
                      <a:pt x="-319" y="167617"/>
                      <a:pt x="6143" y="129898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" name="Google Shape;843;p18">
                <a:extLst>
                  <a:ext uri="{FF2B5EF4-FFF2-40B4-BE49-F238E27FC236}">
                    <a16:creationId xmlns:a16="http://schemas.microsoft.com/office/drawing/2014/main" id="{3164A6E1-E44E-4467-8AE5-4AEDAD3F34BC}"/>
                  </a:ext>
                </a:extLst>
              </p:cNvPr>
              <p:cNvSpPr/>
              <p:nvPr/>
            </p:nvSpPr>
            <p:spPr>
              <a:xfrm>
                <a:off x="6029967" y="288305"/>
                <a:ext cx="239492" cy="225171"/>
              </a:xfrm>
              <a:custGeom>
                <a:avLst/>
                <a:gdLst/>
                <a:ahLst/>
                <a:cxnLst/>
                <a:rect l="l" t="t" r="r" b="b"/>
                <a:pathLst>
                  <a:path w="296585" h="278850" extrusionOk="0">
                    <a:moveTo>
                      <a:pt x="164891" y="3197"/>
                    </a:moveTo>
                    <a:cubicBezTo>
                      <a:pt x="220108" y="13961"/>
                      <a:pt x="265441" y="29582"/>
                      <a:pt x="280457" y="83874"/>
                    </a:cubicBezTo>
                    <a:cubicBezTo>
                      <a:pt x="290721" y="121307"/>
                      <a:pt x="304121" y="192554"/>
                      <a:pt x="291386" y="222653"/>
                    </a:cubicBezTo>
                    <a:lnTo>
                      <a:pt x="283403" y="244370"/>
                    </a:lnTo>
                    <a:lnTo>
                      <a:pt x="216876" y="278851"/>
                    </a:lnTo>
                    <a:cubicBezTo>
                      <a:pt x="216876" y="278851"/>
                      <a:pt x="185704" y="252848"/>
                      <a:pt x="195398" y="176457"/>
                    </a:cubicBezTo>
                    <a:cubicBezTo>
                      <a:pt x="194980" y="166227"/>
                      <a:pt x="191692" y="156321"/>
                      <a:pt x="185894" y="147882"/>
                    </a:cubicBezTo>
                    <a:cubicBezTo>
                      <a:pt x="181580" y="140729"/>
                      <a:pt x="178367" y="132956"/>
                      <a:pt x="176390" y="124832"/>
                    </a:cubicBezTo>
                    <a:cubicBezTo>
                      <a:pt x="168531" y="104162"/>
                      <a:pt x="153001" y="87332"/>
                      <a:pt x="133053" y="77873"/>
                    </a:cubicBezTo>
                    <a:cubicBezTo>
                      <a:pt x="83348" y="49870"/>
                      <a:pt x="10454" y="74063"/>
                      <a:pt x="0" y="84160"/>
                    </a:cubicBezTo>
                    <a:cubicBezTo>
                      <a:pt x="33929" y="14627"/>
                      <a:pt x="100645" y="-9376"/>
                      <a:pt x="164891" y="3197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44;p18">
                <a:extLst>
                  <a:ext uri="{FF2B5EF4-FFF2-40B4-BE49-F238E27FC236}">
                    <a16:creationId xmlns:a16="http://schemas.microsoft.com/office/drawing/2014/main" id="{FCAB1BA9-7404-4E09-AF4E-5E668F3E6ABF}"/>
                  </a:ext>
                </a:extLst>
              </p:cNvPr>
              <p:cNvSpPr/>
              <p:nvPr/>
            </p:nvSpPr>
            <p:spPr>
              <a:xfrm>
                <a:off x="6069645" y="2237688"/>
                <a:ext cx="188076" cy="143860"/>
              </a:xfrm>
              <a:custGeom>
                <a:avLst/>
                <a:gdLst/>
                <a:ahLst/>
                <a:cxnLst/>
                <a:rect l="l" t="t" r="r" b="b"/>
                <a:pathLst>
                  <a:path w="232912" h="178155" extrusionOk="0">
                    <a:moveTo>
                      <a:pt x="216022" y="5"/>
                    </a:moveTo>
                    <a:cubicBezTo>
                      <a:pt x="188081" y="22769"/>
                      <a:pt x="144649" y="7053"/>
                      <a:pt x="142558" y="9053"/>
                    </a:cubicBezTo>
                    <a:cubicBezTo>
                      <a:pt x="114047" y="37628"/>
                      <a:pt x="71755" y="62489"/>
                      <a:pt x="40202" y="87444"/>
                    </a:cubicBezTo>
                    <a:cubicBezTo>
                      <a:pt x="22810" y="101160"/>
                      <a:pt x="-4276" y="119543"/>
                      <a:pt x="571" y="145927"/>
                    </a:cubicBezTo>
                    <a:cubicBezTo>
                      <a:pt x="9410" y="193076"/>
                      <a:pt x="84775" y="178598"/>
                      <a:pt x="113191" y="164120"/>
                    </a:cubicBezTo>
                    <a:cubicBezTo>
                      <a:pt x="141608" y="149642"/>
                      <a:pt x="164797" y="126020"/>
                      <a:pt x="191692" y="109066"/>
                    </a:cubicBezTo>
                    <a:cubicBezTo>
                      <a:pt x="210700" y="97064"/>
                      <a:pt x="229708" y="90873"/>
                      <a:pt x="232749" y="66584"/>
                    </a:cubicBezTo>
                    <a:cubicBezTo>
                      <a:pt x="234555" y="51916"/>
                      <a:pt x="220964" y="-567"/>
                      <a:pt x="216022" y="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" name="Google Shape;845;p18">
                <a:extLst>
                  <a:ext uri="{FF2B5EF4-FFF2-40B4-BE49-F238E27FC236}">
                    <a16:creationId xmlns:a16="http://schemas.microsoft.com/office/drawing/2014/main" id="{397719BC-3E6A-4D95-9238-DC3F329A6679}"/>
                  </a:ext>
                </a:extLst>
              </p:cNvPr>
              <p:cNvSpPr/>
              <p:nvPr/>
            </p:nvSpPr>
            <p:spPr>
              <a:xfrm>
                <a:off x="6070415" y="2283614"/>
                <a:ext cx="187263" cy="97891"/>
              </a:xfrm>
              <a:custGeom>
                <a:avLst/>
                <a:gdLst/>
                <a:ahLst/>
                <a:cxnLst/>
                <a:rect l="l" t="t" r="r" b="b"/>
                <a:pathLst>
                  <a:path w="231905" h="121227" extrusionOk="0">
                    <a:moveTo>
                      <a:pt x="231417" y="0"/>
                    </a:moveTo>
                    <a:cubicBezTo>
                      <a:pt x="227711" y="23241"/>
                      <a:pt x="209083" y="29623"/>
                      <a:pt x="190076" y="41434"/>
                    </a:cubicBezTo>
                    <a:cubicBezTo>
                      <a:pt x="162705" y="58483"/>
                      <a:pt x="138660" y="83058"/>
                      <a:pt x="110244" y="97441"/>
                    </a:cubicBezTo>
                    <a:cubicBezTo>
                      <a:pt x="84013" y="110776"/>
                      <a:pt x="18437" y="124015"/>
                      <a:pt x="0" y="90392"/>
                    </a:cubicBezTo>
                    <a:cubicBezTo>
                      <a:pt x="10074" y="135826"/>
                      <a:pt x="84108" y="121539"/>
                      <a:pt x="112240" y="107251"/>
                    </a:cubicBezTo>
                    <a:cubicBezTo>
                      <a:pt x="140371" y="92964"/>
                      <a:pt x="163845" y="69151"/>
                      <a:pt x="190741" y="52197"/>
                    </a:cubicBezTo>
                    <a:cubicBezTo>
                      <a:pt x="209748" y="40196"/>
                      <a:pt x="228756" y="34004"/>
                      <a:pt x="231797" y="9715"/>
                    </a:cubicBezTo>
                    <a:cubicBezTo>
                      <a:pt x="232025" y="6477"/>
                      <a:pt x="231892" y="3219"/>
                      <a:pt x="231417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846;p18">
                <a:extLst>
                  <a:ext uri="{FF2B5EF4-FFF2-40B4-BE49-F238E27FC236}">
                    <a16:creationId xmlns:a16="http://schemas.microsoft.com/office/drawing/2014/main" id="{9DA57CA9-6F88-476B-811B-6EDB45726056}"/>
                  </a:ext>
                </a:extLst>
              </p:cNvPr>
              <p:cNvSpPr/>
              <p:nvPr/>
            </p:nvSpPr>
            <p:spPr>
              <a:xfrm>
                <a:off x="5927157" y="2205996"/>
                <a:ext cx="172547" cy="133696"/>
              </a:xfrm>
              <a:custGeom>
                <a:avLst/>
                <a:gdLst/>
                <a:ahLst/>
                <a:cxnLst/>
                <a:rect l="l" t="t" r="r" b="b"/>
                <a:pathLst>
                  <a:path w="213680" h="165568" extrusionOk="0">
                    <a:moveTo>
                      <a:pt x="196496" y="5"/>
                    </a:moveTo>
                    <a:cubicBezTo>
                      <a:pt x="170931" y="20864"/>
                      <a:pt x="132345" y="9530"/>
                      <a:pt x="130445" y="11054"/>
                    </a:cubicBezTo>
                    <a:cubicBezTo>
                      <a:pt x="104404" y="37247"/>
                      <a:pt x="65819" y="59726"/>
                      <a:pt x="36927" y="82491"/>
                    </a:cubicBezTo>
                    <a:cubicBezTo>
                      <a:pt x="20961" y="95064"/>
                      <a:pt x="-3939" y="111924"/>
                      <a:pt x="528" y="136022"/>
                    </a:cubicBezTo>
                    <a:cubicBezTo>
                      <a:pt x="8606" y="179265"/>
                      <a:pt x="77604" y="165930"/>
                      <a:pt x="103644" y="152786"/>
                    </a:cubicBezTo>
                    <a:cubicBezTo>
                      <a:pt x="129684" y="139641"/>
                      <a:pt x="151163" y="117638"/>
                      <a:pt x="175588" y="102303"/>
                    </a:cubicBezTo>
                    <a:cubicBezTo>
                      <a:pt x="193170" y="91350"/>
                      <a:pt x="210466" y="85634"/>
                      <a:pt x="213603" y="63441"/>
                    </a:cubicBezTo>
                    <a:cubicBezTo>
                      <a:pt x="214838" y="50011"/>
                      <a:pt x="201058" y="-567"/>
                      <a:pt x="196496" y="5"/>
                    </a:cubicBezTo>
                    <a:close/>
                  </a:path>
                </a:pathLst>
              </a:custGeom>
              <a:solidFill>
                <a:srgbClr val="38226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" name="Google Shape;847;p18">
                <a:extLst>
                  <a:ext uri="{FF2B5EF4-FFF2-40B4-BE49-F238E27FC236}">
                    <a16:creationId xmlns:a16="http://schemas.microsoft.com/office/drawing/2014/main" id="{2168977F-4B60-4D9A-9F80-7AD2401C7415}"/>
                  </a:ext>
                </a:extLst>
              </p:cNvPr>
              <p:cNvSpPr/>
              <p:nvPr/>
            </p:nvSpPr>
            <p:spPr>
              <a:xfrm>
                <a:off x="5927737" y="2249998"/>
                <a:ext cx="171800" cy="89748"/>
              </a:xfrm>
              <a:custGeom>
                <a:avLst/>
                <a:gdLst/>
                <a:ahLst/>
                <a:cxnLst/>
                <a:rect l="l" t="t" r="r" b="b"/>
                <a:pathLst>
                  <a:path w="212755" h="111143" extrusionOk="0">
                    <a:moveTo>
                      <a:pt x="212124" y="0"/>
                    </a:moveTo>
                    <a:cubicBezTo>
                      <a:pt x="208798" y="21241"/>
                      <a:pt x="191691" y="27146"/>
                      <a:pt x="174109" y="38100"/>
                    </a:cubicBezTo>
                    <a:cubicBezTo>
                      <a:pt x="149019" y="53721"/>
                      <a:pt x="126590" y="76200"/>
                      <a:pt x="100930" y="89344"/>
                    </a:cubicBezTo>
                    <a:cubicBezTo>
                      <a:pt x="76886" y="101632"/>
                      <a:pt x="16917" y="113728"/>
                      <a:pt x="0" y="82867"/>
                    </a:cubicBezTo>
                    <a:cubicBezTo>
                      <a:pt x="9504" y="124492"/>
                      <a:pt x="76980" y="111442"/>
                      <a:pt x="102736" y="98393"/>
                    </a:cubicBezTo>
                    <a:cubicBezTo>
                      <a:pt x="128491" y="85344"/>
                      <a:pt x="150255" y="63246"/>
                      <a:pt x="174679" y="47911"/>
                    </a:cubicBezTo>
                    <a:cubicBezTo>
                      <a:pt x="192261" y="36957"/>
                      <a:pt x="209558" y="31242"/>
                      <a:pt x="212694" y="9049"/>
                    </a:cubicBezTo>
                    <a:cubicBezTo>
                      <a:pt x="212866" y="6020"/>
                      <a:pt x="212676" y="2981"/>
                      <a:pt x="212124" y="0"/>
                    </a:cubicBezTo>
                    <a:close/>
                  </a:path>
                </a:pathLst>
              </a:custGeom>
              <a:solidFill>
                <a:srgbClr val="757B8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" name="Google Shape;848;p18">
                <a:extLst>
                  <a:ext uri="{FF2B5EF4-FFF2-40B4-BE49-F238E27FC236}">
                    <a16:creationId xmlns:a16="http://schemas.microsoft.com/office/drawing/2014/main" id="{E1FA6B6C-AC6D-4D64-B2B3-E5DED7C933E4}"/>
                  </a:ext>
                </a:extLst>
              </p:cNvPr>
              <p:cNvSpPr/>
              <p:nvPr/>
            </p:nvSpPr>
            <p:spPr>
              <a:xfrm>
                <a:off x="5955035" y="963103"/>
                <a:ext cx="368082" cy="1288142"/>
              </a:xfrm>
              <a:custGeom>
                <a:avLst/>
                <a:gdLst/>
                <a:ahLst/>
                <a:cxnLst/>
                <a:rect l="l" t="t" r="r" b="b"/>
                <a:pathLst>
                  <a:path w="455829" h="1595222" extrusionOk="0">
                    <a:moveTo>
                      <a:pt x="11434" y="236696"/>
                    </a:moveTo>
                    <a:cubicBezTo>
                      <a:pt x="23694" y="140208"/>
                      <a:pt x="58953" y="0"/>
                      <a:pt x="58953" y="0"/>
                    </a:cubicBezTo>
                    <a:cubicBezTo>
                      <a:pt x="92720" y="15859"/>
                      <a:pt x="129281" y="24889"/>
                      <a:pt x="166536" y="26575"/>
                    </a:cubicBezTo>
                    <a:cubicBezTo>
                      <a:pt x="228691" y="29718"/>
                      <a:pt x="328101" y="10859"/>
                      <a:pt x="328101" y="10859"/>
                    </a:cubicBezTo>
                    <a:cubicBezTo>
                      <a:pt x="345540" y="41281"/>
                      <a:pt x="364576" y="70752"/>
                      <a:pt x="385123" y="99155"/>
                    </a:cubicBezTo>
                    <a:cubicBezTo>
                      <a:pt x="412875" y="137731"/>
                      <a:pt x="466856" y="222409"/>
                      <a:pt x="453836" y="370332"/>
                    </a:cubicBezTo>
                    <a:cubicBezTo>
                      <a:pt x="445282" y="467011"/>
                      <a:pt x="391301" y="877443"/>
                      <a:pt x="391301" y="877443"/>
                    </a:cubicBezTo>
                    <a:cubicBezTo>
                      <a:pt x="412295" y="946490"/>
                      <a:pt x="423452" y="1018156"/>
                      <a:pt x="424469" y="1090327"/>
                    </a:cubicBezTo>
                    <a:cubicBezTo>
                      <a:pt x="423899" y="1150048"/>
                      <a:pt x="408218" y="1251490"/>
                      <a:pt x="390635" y="1345311"/>
                    </a:cubicBezTo>
                    <a:lnTo>
                      <a:pt x="358418" y="1578293"/>
                    </a:lnTo>
                    <a:cubicBezTo>
                      <a:pt x="358418" y="1578293"/>
                      <a:pt x="315556" y="1609344"/>
                      <a:pt x="284953" y="1587341"/>
                    </a:cubicBezTo>
                    <a:lnTo>
                      <a:pt x="288850" y="1359408"/>
                    </a:lnTo>
                    <a:cubicBezTo>
                      <a:pt x="285049" y="1303592"/>
                      <a:pt x="279346" y="1221296"/>
                      <a:pt x="276020" y="1168908"/>
                    </a:cubicBezTo>
                    <a:cubicBezTo>
                      <a:pt x="270223" y="1083183"/>
                      <a:pt x="254921" y="947356"/>
                      <a:pt x="250550" y="913352"/>
                    </a:cubicBezTo>
                    <a:cubicBezTo>
                      <a:pt x="246178" y="879348"/>
                      <a:pt x="235249" y="820103"/>
                      <a:pt x="230117" y="753618"/>
                    </a:cubicBezTo>
                    <a:cubicBezTo>
                      <a:pt x="224985" y="687134"/>
                      <a:pt x="199895" y="349282"/>
                      <a:pt x="199895" y="349282"/>
                    </a:cubicBezTo>
                    <a:lnTo>
                      <a:pt x="196473" y="412528"/>
                    </a:lnTo>
                    <a:cubicBezTo>
                      <a:pt x="196473" y="412528"/>
                      <a:pt x="193147" y="515303"/>
                      <a:pt x="178416" y="641985"/>
                    </a:cubicBezTo>
                    <a:cubicBezTo>
                      <a:pt x="163685" y="768668"/>
                      <a:pt x="158553" y="824960"/>
                      <a:pt x="158553" y="824960"/>
                    </a:cubicBezTo>
                    <a:cubicBezTo>
                      <a:pt x="158553" y="824960"/>
                      <a:pt x="184118" y="872109"/>
                      <a:pt x="187065" y="906780"/>
                    </a:cubicBezTo>
                    <a:cubicBezTo>
                      <a:pt x="189630" y="934212"/>
                      <a:pt x="220898" y="1150906"/>
                      <a:pt x="202271" y="1261110"/>
                    </a:cubicBezTo>
                    <a:lnTo>
                      <a:pt x="164256" y="1541336"/>
                    </a:lnTo>
                    <a:cubicBezTo>
                      <a:pt x="144782" y="1554832"/>
                      <a:pt x="120015" y="1558090"/>
                      <a:pt x="97729" y="1550098"/>
                    </a:cubicBezTo>
                    <a:lnTo>
                      <a:pt x="75205" y="1267682"/>
                    </a:lnTo>
                    <a:cubicBezTo>
                      <a:pt x="60094" y="1160145"/>
                      <a:pt x="27686" y="932307"/>
                      <a:pt x="23124" y="902684"/>
                    </a:cubicBezTo>
                    <a:cubicBezTo>
                      <a:pt x="16662" y="863727"/>
                      <a:pt x="11340" y="844487"/>
                      <a:pt x="4117" y="721709"/>
                    </a:cubicBezTo>
                    <a:cubicBezTo>
                      <a:pt x="-3106" y="598932"/>
                      <a:pt x="-920" y="333185"/>
                      <a:pt x="11434" y="236696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849;p18">
                <a:extLst>
                  <a:ext uri="{FF2B5EF4-FFF2-40B4-BE49-F238E27FC236}">
                    <a16:creationId xmlns:a16="http://schemas.microsoft.com/office/drawing/2014/main" id="{9CE7050D-D129-44D7-A718-4B44B49CCFEC}"/>
                  </a:ext>
                </a:extLst>
              </p:cNvPr>
              <p:cNvSpPr/>
              <p:nvPr/>
            </p:nvSpPr>
            <p:spPr>
              <a:xfrm>
                <a:off x="5939457" y="937334"/>
                <a:ext cx="391797" cy="856741"/>
              </a:xfrm>
              <a:custGeom>
                <a:avLst/>
                <a:gdLst/>
                <a:ahLst/>
                <a:cxnLst/>
                <a:rect l="l" t="t" r="r" b="b"/>
                <a:pathLst>
                  <a:path w="485198" h="1060979" extrusionOk="0">
                    <a:moveTo>
                      <a:pt x="347391" y="12859"/>
                    </a:moveTo>
                    <a:lnTo>
                      <a:pt x="430264" y="179832"/>
                    </a:lnTo>
                    <a:cubicBezTo>
                      <a:pt x="430264" y="179832"/>
                      <a:pt x="556855" y="365474"/>
                      <a:pt x="425702" y="842772"/>
                    </a:cubicBezTo>
                    <a:lnTo>
                      <a:pt x="450317" y="990029"/>
                    </a:lnTo>
                    <a:cubicBezTo>
                      <a:pt x="450317" y="990029"/>
                      <a:pt x="202078" y="1149668"/>
                      <a:pt x="35952" y="990029"/>
                    </a:cubicBezTo>
                    <a:cubicBezTo>
                      <a:pt x="35952" y="990029"/>
                      <a:pt x="-21641" y="548926"/>
                      <a:pt x="8961" y="345567"/>
                    </a:cubicBezTo>
                    <a:cubicBezTo>
                      <a:pt x="26011" y="228591"/>
                      <a:pt x="51871" y="113071"/>
                      <a:pt x="86322" y="0"/>
                    </a:cubicBezTo>
                    <a:cubicBezTo>
                      <a:pt x="86322" y="0"/>
                      <a:pt x="126998" y="45053"/>
                      <a:pt x="336367" y="15335"/>
                    </a:cubicBezTo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850;p18">
                <a:extLst>
                  <a:ext uri="{FF2B5EF4-FFF2-40B4-BE49-F238E27FC236}">
                    <a16:creationId xmlns:a16="http://schemas.microsoft.com/office/drawing/2014/main" id="{01E935A3-AA69-468B-AB91-31C0A29DCE7B}"/>
                  </a:ext>
                </a:extLst>
              </p:cNvPr>
              <p:cNvSpPr/>
              <p:nvPr/>
            </p:nvSpPr>
            <p:spPr>
              <a:xfrm>
                <a:off x="5733626" y="681017"/>
                <a:ext cx="564393" cy="492344"/>
              </a:xfrm>
              <a:custGeom>
                <a:avLst/>
                <a:gdLst/>
                <a:ahLst/>
                <a:cxnLst/>
                <a:rect l="l" t="t" r="r" b="b"/>
                <a:pathLst>
                  <a:path w="698939" h="609714" extrusionOk="0">
                    <a:moveTo>
                      <a:pt x="82790" y="448837"/>
                    </a:moveTo>
                    <a:cubicBezTo>
                      <a:pt x="101798" y="452457"/>
                      <a:pt x="119950" y="448361"/>
                      <a:pt x="146561" y="455600"/>
                    </a:cubicBezTo>
                    <a:cubicBezTo>
                      <a:pt x="166452" y="461905"/>
                      <a:pt x="187190" y="465125"/>
                      <a:pt x="208050" y="465125"/>
                    </a:cubicBezTo>
                    <a:cubicBezTo>
                      <a:pt x="230669" y="465125"/>
                      <a:pt x="294155" y="433407"/>
                      <a:pt x="348611" y="395116"/>
                    </a:cubicBezTo>
                    <a:cubicBezTo>
                      <a:pt x="412762" y="350063"/>
                      <a:pt x="476437" y="272244"/>
                      <a:pt x="499436" y="234811"/>
                    </a:cubicBezTo>
                    <a:cubicBezTo>
                      <a:pt x="548951" y="154038"/>
                      <a:pt x="596375" y="70695"/>
                      <a:pt x="611011" y="28023"/>
                    </a:cubicBezTo>
                    <a:cubicBezTo>
                      <a:pt x="628498" y="-23222"/>
                      <a:pt x="628118" y="11640"/>
                      <a:pt x="658530" y="10878"/>
                    </a:cubicBezTo>
                    <a:cubicBezTo>
                      <a:pt x="693979" y="10020"/>
                      <a:pt x="713082" y="23070"/>
                      <a:pt x="686471" y="92602"/>
                    </a:cubicBezTo>
                    <a:cubicBezTo>
                      <a:pt x="659860" y="162135"/>
                      <a:pt x="635626" y="210522"/>
                      <a:pt x="576322" y="292627"/>
                    </a:cubicBezTo>
                    <a:cubicBezTo>
                      <a:pt x="532918" y="354245"/>
                      <a:pt x="479260" y="407918"/>
                      <a:pt x="417704" y="451314"/>
                    </a:cubicBezTo>
                    <a:cubicBezTo>
                      <a:pt x="363608" y="489280"/>
                      <a:pt x="305151" y="520589"/>
                      <a:pt x="243595" y="544563"/>
                    </a:cubicBezTo>
                    <a:cubicBezTo>
                      <a:pt x="225823" y="551898"/>
                      <a:pt x="214513" y="561709"/>
                      <a:pt x="182295" y="579615"/>
                    </a:cubicBezTo>
                    <a:cubicBezTo>
                      <a:pt x="150381" y="597951"/>
                      <a:pt x="114514" y="608276"/>
                      <a:pt x="77753" y="609714"/>
                    </a:cubicBezTo>
                    <a:cubicBezTo>
                      <a:pt x="46961" y="608953"/>
                      <a:pt x="35937" y="603809"/>
                      <a:pt x="33371" y="597522"/>
                    </a:cubicBezTo>
                    <a:cubicBezTo>
                      <a:pt x="30139" y="589617"/>
                      <a:pt x="36127" y="584188"/>
                      <a:pt x="50193" y="582854"/>
                    </a:cubicBezTo>
                    <a:cubicBezTo>
                      <a:pt x="72688" y="582521"/>
                      <a:pt x="94936" y="578101"/>
                      <a:pt x="115864" y="569805"/>
                    </a:cubicBezTo>
                    <a:cubicBezTo>
                      <a:pt x="115864" y="569805"/>
                      <a:pt x="85166" y="574186"/>
                      <a:pt x="66634" y="575139"/>
                    </a:cubicBezTo>
                    <a:cubicBezTo>
                      <a:pt x="50088" y="576034"/>
                      <a:pt x="33504" y="574729"/>
                      <a:pt x="17310" y="571234"/>
                    </a:cubicBezTo>
                    <a:cubicBezTo>
                      <a:pt x="1723" y="567519"/>
                      <a:pt x="-7020" y="545421"/>
                      <a:pt x="7140" y="543706"/>
                    </a:cubicBezTo>
                    <a:cubicBezTo>
                      <a:pt x="21301" y="541992"/>
                      <a:pt x="32706" y="544659"/>
                      <a:pt x="60267" y="542849"/>
                    </a:cubicBezTo>
                    <a:cubicBezTo>
                      <a:pt x="74845" y="541935"/>
                      <a:pt x="89272" y="539277"/>
                      <a:pt x="103224" y="534943"/>
                    </a:cubicBezTo>
                    <a:cubicBezTo>
                      <a:pt x="84805" y="535105"/>
                      <a:pt x="66396" y="533772"/>
                      <a:pt x="48197" y="530943"/>
                    </a:cubicBezTo>
                    <a:cubicBezTo>
                      <a:pt x="33390" y="529543"/>
                      <a:pt x="19296" y="523885"/>
                      <a:pt x="7615" y="514655"/>
                    </a:cubicBezTo>
                    <a:cubicBezTo>
                      <a:pt x="1628" y="509702"/>
                      <a:pt x="583" y="495605"/>
                      <a:pt x="18450" y="495605"/>
                    </a:cubicBezTo>
                    <a:cubicBezTo>
                      <a:pt x="34511" y="495605"/>
                      <a:pt x="54659" y="503035"/>
                      <a:pt x="84976" y="498844"/>
                    </a:cubicBezTo>
                    <a:cubicBezTo>
                      <a:pt x="107310" y="495700"/>
                      <a:pt x="122992" y="490462"/>
                      <a:pt x="119190" y="487509"/>
                    </a:cubicBezTo>
                    <a:cubicBezTo>
                      <a:pt x="115388" y="484556"/>
                      <a:pt x="102748" y="487509"/>
                      <a:pt x="84311" y="480746"/>
                    </a:cubicBezTo>
                    <a:cubicBezTo>
                      <a:pt x="65874" y="473983"/>
                      <a:pt x="52949" y="457791"/>
                      <a:pt x="57225" y="448075"/>
                    </a:cubicBezTo>
                    <a:cubicBezTo>
                      <a:pt x="61502" y="438360"/>
                      <a:pt x="63593" y="445313"/>
                      <a:pt x="82790" y="448837"/>
                    </a:cubicBezTo>
                    <a:close/>
                  </a:path>
                </a:pathLst>
              </a:custGeom>
              <a:solidFill>
                <a:srgbClr val="FFCEA9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851;p18">
                <a:extLst>
                  <a:ext uri="{FF2B5EF4-FFF2-40B4-BE49-F238E27FC236}">
                    <a16:creationId xmlns:a16="http://schemas.microsoft.com/office/drawing/2014/main" id="{9426C97C-8A21-4D54-8E8D-1D4D34A65071}"/>
                  </a:ext>
                </a:extLst>
              </p:cNvPr>
              <p:cNvSpPr/>
              <p:nvPr/>
            </p:nvSpPr>
            <p:spPr>
              <a:xfrm>
                <a:off x="6171801" y="649512"/>
                <a:ext cx="135912" cy="159574"/>
              </a:xfrm>
              <a:custGeom>
                <a:avLst/>
                <a:gdLst/>
                <a:ahLst/>
                <a:cxnLst/>
                <a:rect l="l" t="t" r="r" b="b"/>
                <a:pathLst>
                  <a:path w="168312" h="197615" extrusionOk="0">
                    <a:moveTo>
                      <a:pt x="127446" y="197527"/>
                    </a:moveTo>
                    <a:cubicBezTo>
                      <a:pt x="127446" y="197527"/>
                      <a:pt x="46188" y="201813"/>
                      <a:pt x="0" y="150759"/>
                    </a:cubicBezTo>
                    <a:lnTo>
                      <a:pt x="50085" y="45984"/>
                    </a:lnTo>
                    <a:cubicBezTo>
                      <a:pt x="50085" y="45984"/>
                      <a:pt x="73179" y="-12023"/>
                      <a:pt x="127351" y="2264"/>
                    </a:cubicBezTo>
                    <a:cubicBezTo>
                      <a:pt x="181522" y="16552"/>
                      <a:pt x="182378" y="92942"/>
                      <a:pt x="127446" y="197527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852;p18">
                <a:extLst>
                  <a:ext uri="{FF2B5EF4-FFF2-40B4-BE49-F238E27FC236}">
                    <a16:creationId xmlns:a16="http://schemas.microsoft.com/office/drawing/2014/main" id="{B034152C-7A83-4BC4-A032-22A137D47918}"/>
                  </a:ext>
                </a:extLst>
              </p:cNvPr>
              <p:cNvSpPr/>
              <p:nvPr/>
            </p:nvSpPr>
            <p:spPr>
              <a:xfrm>
                <a:off x="5953447" y="594810"/>
                <a:ext cx="109819" cy="115441"/>
              </a:xfrm>
              <a:custGeom>
                <a:avLst/>
                <a:gdLst/>
                <a:ahLst/>
                <a:cxnLst/>
                <a:rect l="l" t="t" r="r" b="b"/>
                <a:pathLst>
                  <a:path w="135999" h="142961" extrusionOk="0">
                    <a:moveTo>
                      <a:pt x="135999" y="944"/>
                    </a:moveTo>
                    <a:cubicBezTo>
                      <a:pt x="135999" y="944"/>
                      <a:pt x="70043" y="-19249"/>
                      <a:pt x="0" y="127150"/>
                    </a:cubicBezTo>
                    <a:lnTo>
                      <a:pt x="26231" y="142962"/>
                    </a:lnTo>
                    <a:cubicBezTo>
                      <a:pt x="26231" y="142962"/>
                      <a:pt x="95133" y="38473"/>
                      <a:pt x="135999" y="944"/>
                    </a:cubicBezTo>
                    <a:close/>
                  </a:path>
                </a:pathLst>
              </a:custGeom>
              <a:solidFill>
                <a:srgbClr val="EDEDED"/>
              </a:solidFill>
              <a:ln>
                <a:noFill/>
              </a:ln>
            </p:spPr>
            <p:txBody>
              <a:bodyPr spcFirstLastPara="1" wrap="square" lIns="121900" tIns="60933" rIns="121900" bIns="60933" anchor="ctr" anchorCtr="0">
                <a:noAutofit/>
              </a:bodyPr>
              <a:lstStyle/>
              <a:p>
                <a:endParaRPr sz="2400" dirty="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pic>
          <p:nvPicPr>
            <p:cNvPr id="14" name="Imagen 878">
              <a:extLst>
                <a:ext uri="{FF2B5EF4-FFF2-40B4-BE49-F238E27FC236}">
                  <a16:creationId xmlns:a16="http://schemas.microsoft.com/office/drawing/2014/main" id="{81B46105-50B0-41D6-B8D8-CAFDF736B50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74933" b="97444" l="2178" r="19178"/>
                      </a14:imgEffect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487" r="78129"/>
            <a:stretch/>
          </p:blipFill>
          <p:spPr>
            <a:xfrm>
              <a:off x="6141163" y="823747"/>
              <a:ext cx="1891281" cy="2206291"/>
            </a:xfrm>
            <a:prstGeom prst="rect">
              <a:avLst/>
            </a:prstGeom>
          </p:spPr>
        </p:pic>
      </p:grpSp>
      <p:sp>
        <p:nvSpPr>
          <p:cNvPr id="112" name="3 Marcador de texto">
            <a:extLst>
              <a:ext uri="{FF2B5EF4-FFF2-40B4-BE49-F238E27FC236}">
                <a16:creationId xmlns:a16="http://schemas.microsoft.com/office/drawing/2014/main" id="{BB3716FA-D481-4EDF-B6AA-E9CDDC41EFE2}"/>
              </a:ext>
            </a:extLst>
          </p:cNvPr>
          <p:cNvSpPr txBox="1">
            <a:spLocks/>
          </p:cNvSpPr>
          <p:nvPr/>
        </p:nvSpPr>
        <p:spPr>
          <a:xfrm>
            <a:off x="883554" y="1179458"/>
            <a:ext cx="9832149" cy="1338001"/>
          </a:xfrm>
          <a:prstGeom prst="rect">
            <a:avLst/>
          </a:prstGeom>
        </p:spPr>
        <p:txBody>
          <a:bodyPr/>
          <a:lstStyle>
            <a:lvl1pPr marL="91440" indent="-91440" algn="l" defTabSz="914400" rtl="0" eaLnBrk="1" latinLnBrk="0" hangingPunct="1">
              <a:lnSpc>
                <a:spcPct val="85000"/>
              </a:lnSpc>
              <a:spcBef>
                <a:spcPts val="1300"/>
              </a:spcBef>
              <a:buFont typeface="Arial" pitchFamily="34" charset="0"/>
              <a:buChar char=" "/>
              <a:defRPr sz="2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7472" indent="-3429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24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48640" indent="-54864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2000" i="1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822960" indent="-82296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097280" indent="-109728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2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4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6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800000" indent="-228600" algn="l" defTabSz="914400" rtl="0" eaLnBrk="1" latinLnBrk="0" hangingPunct="1">
              <a:lnSpc>
                <a:spcPct val="85000"/>
              </a:lnSpc>
              <a:spcBef>
                <a:spcPts val="600"/>
              </a:spcBef>
              <a:buFont typeface="Arial" pitchFamily="34" charset="0"/>
              <a:buChar char=" "/>
              <a:defRPr sz="18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Arial" pitchFamily="34" charset="0"/>
              <a:buNone/>
            </a:pPr>
            <a:r>
              <a:rPr lang="es-ES" sz="2000" dirty="0"/>
              <a:t>A lo largo de todo el </a:t>
            </a:r>
            <a:r>
              <a:rPr lang="es-ES" sz="2000" b="1" dirty="0"/>
              <a:t>territorio valenciano</a:t>
            </a:r>
            <a:r>
              <a:rPr lang="es-ES" sz="2000" dirty="0"/>
              <a:t>, la Administración Pública contarán con los denominados </a:t>
            </a:r>
            <a:r>
              <a:rPr lang="es-ES" sz="2000" b="1" dirty="0"/>
              <a:t>Puntos GVA NEXT</a:t>
            </a:r>
            <a:r>
              <a:rPr lang="es-ES" sz="2000" dirty="0"/>
              <a:t>. Puestos ocupados por técnicos expertos en gestión de fondos europeos que ofrecerán asesoramiento presencial especializado a todos aquellos que busquen financiación a través de alguna convocatoria Next </a:t>
            </a:r>
            <a:r>
              <a:rPr lang="es-ES" sz="2000" dirty="0" err="1"/>
              <a:t>Generation</a:t>
            </a:r>
            <a:r>
              <a:rPr lang="es-ES" sz="2000" dirty="0"/>
              <a:t>.</a:t>
            </a:r>
            <a:endParaRPr lang="es-ES" sz="2800" dirty="0"/>
          </a:p>
          <a:p>
            <a:pPr algn="ctr">
              <a:buFont typeface="Arial" pitchFamily="34" charset="0"/>
              <a:buNone/>
            </a:pPr>
            <a:endParaRPr lang="es-ES" sz="1867" dirty="0">
              <a:solidFill>
                <a:schemeClr val="tx1"/>
              </a:solidFill>
              <a:latin typeface="+mj-lt"/>
            </a:endParaRPr>
          </a:p>
          <a:p>
            <a:pPr algn="ctr">
              <a:buFont typeface="Arial" pitchFamily="34" charset="0"/>
              <a:buNone/>
            </a:pPr>
            <a:endParaRPr lang="es-ES" sz="1600" dirty="0">
              <a:solidFill>
                <a:schemeClr val="tx1"/>
              </a:solidFill>
              <a:latin typeface="+mj-lt"/>
            </a:endParaRPr>
          </a:p>
          <a:p>
            <a:pPr marL="152396" indent="0" algn="ctr">
              <a:buFont typeface="Arial" pitchFamily="34" charset="0"/>
              <a:buNone/>
            </a:pPr>
            <a:endParaRPr lang="es-ES" sz="1867" dirty="0">
              <a:solidFill>
                <a:schemeClr val="tx1"/>
              </a:solidFill>
              <a:latin typeface="+mj-lt"/>
            </a:endParaRPr>
          </a:p>
          <a:p>
            <a:pPr marL="152396" indent="0" algn="ctr">
              <a:buFont typeface="Arial" pitchFamily="34" charset="0"/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8266800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3">
            <a:extLst>
              <a:ext uri="{FF2B5EF4-FFF2-40B4-BE49-F238E27FC236}">
                <a16:creationId xmlns:a16="http://schemas.microsoft.com/office/drawing/2014/main" id="{2D3A3BAE-51DA-42C2-BE91-EB1EECA24F5F}"/>
              </a:ext>
            </a:extLst>
          </p:cNvPr>
          <p:cNvSpPr txBox="1"/>
          <p:nvPr/>
        </p:nvSpPr>
        <p:spPr>
          <a:xfrm>
            <a:off x="703058" y="3567142"/>
            <a:ext cx="11264358" cy="338554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vert="horz" wrap="square" lIns="0" tIns="0" rIns="0" bIns="0" rtlCol="0" anchor="t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/>
              <a:t>Los organismos que ya trabajan con las PYMES se van a ver reforzados: CDTI, ENISA, CERSA,…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ES" sz="2000" dirty="0">
                <a:cs typeface="Arial"/>
              </a:rPr>
              <a:t>En varios PERTES se pide una presencia mínima de un 40% de PYMES en los consorcios.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ES" sz="2000" dirty="0">
              <a:cs typeface="Arial"/>
            </a:endParaRPr>
          </a:p>
        </p:txBody>
      </p:sp>
      <p:sp>
        <p:nvSpPr>
          <p:cNvPr id="48" name="1 Título">
            <a:extLst>
              <a:ext uri="{FF2B5EF4-FFF2-40B4-BE49-F238E27FC236}">
                <a16:creationId xmlns:a16="http://schemas.microsoft.com/office/drawing/2014/main" id="{1E6DF565-2D87-49E2-B2DC-0B4BD88B5276}"/>
              </a:ext>
            </a:extLst>
          </p:cNvPr>
          <p:cNvSpPr txBox="1">
            <a:spLocks/>
          </p:cNvSpPr>
          <p:nvPr/>
        </p:nvSpPr>
        <p:spPr>
          <a:xfrm>
            <a:off x="848837" y="-217357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50" spc="-120" dirty="0">
                <a:solidFill>
                  <a:schemeClr val="bg1"/>
                </a:solidFill>
                <a:latin typeface="Roboto"/>
                <a:ea typeface="Roboto" panose="02000000000000000000" pitchFamily="2" charset="0"/>
              </a:rPr>
              <a:t>Y LAS PYMES: principales beneficiadas</a:t>
            </a:r>
            <a:endParaRPr lang="es-ES" sz="2650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5DA529C0-03AE-4FE3-A2E3-DE62F6F2C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99694" y="3998620"/>
            <a:ext cx="6956781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6" tIns="45718" rIns="91436" bIns="45718" anchor="ctr"/>
          <a:lstStyle/>
          <a:p>
            <a:pPr algn="ctr">
              <a:defRPr/>
            </a:pPr>
            <a:r>
              <a:rPr lang="es-ES_tradnl" sz="2800" b="1" dirty="0">
                <a:solidFill>
                  <a:srgbClr val="85B819"/>
                </a:solidFill>
                <a:latin typeface="Arial Rounded MT Bold" pitchFamily="34" charset="0"/>
                <a:ea typeface="Asap SemiBold"/>
                <a:cs typeface="Asap SemiBold"/>
              </a:rPr>
              <a:t>Evolución ayudas al autoconsumo</a:t>
            </a: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5E0A98B4-4E57-45D0-9BCD-C01EF3E1AC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15635" y="4639282"/>
            <a:ext cx="8724900" cy="1152525"/>
          </a:xfrm>
          <a:prstGeom prst="rect">
            <a:avLst/>
          </a:prstGeom>
        </p:spPr>
      </p:pic>
      <p:pic>
        <p:nvPicPr>
          <p:cNvPr id="2" name="Imagen 1">
            <a:extLst>
              <a:ext uri="{FF2B5EF4-FFF2-40B4-BE49-F238E27FC236}">
                <a16:creationId xmlns:a16="http://schemas.microsoft.com/office/drawing/2014/main" id="{701BE50A-CD59-2202-9FE5-7B0FA26A89A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44235" y="1412332"/>
            <a:ext cx="7840840" cy="1793920"/>
          </a:xfrm>
          <a:prstGeom prst="rect">
            <a:avLst/>
          </a:prstGeom>
        </p:spPr>
      </p:pic>
      <p:sp>
        <p:nvSpPr>
          <p:cNvPr id="8" name="CuadroTexto 7">
            <a:extLst>
              <a:ext uri="{FF2B5EF4-FFF2-40B4-BE49-F238E27FC236}">
                <a16:creationId xmlns:a16="http://schemas.microsoft.com/office/drawing/2014/main" id="{3605C63D-6BAA-ACEA-4B8A-291316C9A32A}"/>
              </a:ext>
            </a:extLst>
          </p:cNvPr>
          <p:cNvSpPr txBox="1"/>
          <p:nvPr/>
        </p:nvSpPr>
        <p:spPr>
          <a:xfrm>
            <a:off x="727538" y="873428"/>
            <a:ext cx="96166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2000" b="1" dirty="0">
                <a:solidFill>
                  <a:schemeClr val="dk1"/>
                </a:solidFill>
                <a:latin typeface="Barlow Light"/>
              </a:rPr>
              <a:t>Instrumentos de apoyo para canalizar los fondos Next </a:t>
            </a:r>
            <a:r>
              <a:rPr lang="es-ES" sz="2000" b="1" dirty="0" err="1">
                <a:solidFill>
                  <a:schemeClr val="dk1"/>
                </a:solidFill>
                <a:latin typeface="Barlow Light"/>
              </a:rPr>
              <a:t>Generation</a:t>
            </a:r>
            <a:endParaRPr lang="es-ES" sz="2000" b="1" dirty="0">
              <a:solidFill>
                <a:schemeClr val="dk1"/>
              </a:solidFill>
              <a:latin typeface="Barlow Light"/>
            </a:endParaRPr>
          </a:p>
        </p:txBody>
      </p:sp>
    </p:spTree>
    <p:extLst>
      <p:ext uri="{BB962C8B-B14F-4D97-AF65-F5344CB8AC3E}">
        <p14:creationId xmlns:p14="http://schemas.microsoft.com/office/powerpoint/2010/main" val="25539201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1 Título">
            <a:extLst>
              <a:ext uri="{FF2B5EF4-FFF2-40B4-BE49-F238E27FC236}">
                <a16:creationId xmlns:a16="http://schemas.microsoft.com/office/drawing/2014/main" id="{4C575E38-DF03-466F-B4C0-ACD48C246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9851" y="-170176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RABAJO CON LOS PERTES</a:t>
            </a:r>
          </a:p>
        </p:txBody>
      </p:sp>
      <p:cxnSp>
        <p:nvCxnSpPr>
          <p:cNvPr id="30" name="5 Conector recto">
            <a:extLst>
              <a:ext uri="{FF2B5EF4-FFF2-40B4-BE49-F238E27FC236}">
                <a16:creationId xmlns:a16="http://schemas.microsoft.com/office/drawing/2014/main" id="{6A291338-86B6-4A0E-BEE8-A912F6EC9C4A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2">
            <a:extLst>
              <a:ext uri="{FF2B5EF4-FFF2-40B4-BE49-F238E27FC236}">
                <a16:creationId xmlns:a16="http://schemas.microsoft.com/office/drawing/2014/main" id="{C4E3F8AD-BF42-4637-9A1D-3E40EB19B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6DBF669F-CC4C-4B28-A50F-BA6BF8560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984" y="2166381"/>
            <a:ext cx="5440287" cy="3473020"/>
          </a:xfrm>
          <a:prstGeom prst="rect">
            <a:avLst/>
          </a:prstGeom>
        </p:spPr>
      </p:pic>
      <p:pic>
        <p:nvPicPr>
          <p:cNvPr id="6" name="Imagen 5">
            <a:hlinkClick r:id="rId4"/>
            <a:extLst>
              <a:ext uri="{FF2B5EF4-FFF2-40B4-BE49-F238E27FC236}">
                <a16:creationId xmlns:a16="http://schemas.microsoft.com/office/drawing/2014/main" id="{E228B2F9-5650-4045-AFBF-2B092AD068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1096" y="2803690"/>
            <a:ext cx="4912438" cy="1398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133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5A3A510F-587B-483C-A425-E52AD745D819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LACIÓN DE </a:t>
            </a:r>
            <a:r>
              <a:rPr lang="es-ES" sz="2667" spc="-120" dirty="0" err="1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TEs</a:t>
            </a:r>
            <a:endParaRPr lang="es-ES" sz="2667" spc="-12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1DAEB3BB-CE95-4976-89EC-B1B19D9CEF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607" y="1291420"/>
            <a:ext cx="11455683" cy="4737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11477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5A3A510F-587B-483C-A425-E52AD745D819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DENDA 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0150ADCD-D0A9-4CB0-B3B4-CFC9801F80F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2412" y="866775"/>
            <a:ext cx="11687175" cy="5124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431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5A3A510F-587B-483C-A425-E52AD745D819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DENDA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2DED8E49-197A-416D-8761-D4DA4EC8DAA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0987" y="1085850"/>
            <a:ext cx="11630025" cy="468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5138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5A3A510F-587B-483C-A425-E52AD745D819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DENDA 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BDB5ECDA-5F4C-47DA-96F5-55C29E0E530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4325" y="776287"/>
            <a:ext cx="11563350" cy="5305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06785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1 Título">
            <a:extLst>
              <a:ext uri="{FF2B5EF4-FFF2-40B4-BE49-F238E27FC236}">
                <a16:creationId xmlns:a16="http://schemas.microsoft.com/office/drawing/2014/main" id="{5A3A510F-587B-483C-A425-E52AD745D819}"/>
              </a:ext>
            </a:extLst>
          </p:cNvPr>
          <p:cNvSpPr txBox="1">
            <a:spLocks/>
          </p:cNvSpPr>
          <p:nvPr/>
        </p:nvSpPr>
        <p:spPr>
          <a:xfrm>
            <a:off x="717206" y="-200739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DENDA 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8A90E11-D44A-47FD-B01D-BED60C0E2F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1487" y="842962"/>
            <a:ext cx="11249025" cy="517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890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CustomShape 1"/>
          <p:cNvSpPr/>
          <p:nvPr/>
        </p:nvSpPr>
        <p:spPr>
          <a:xfrm>
            <a:off x="0" y="0"/>
            <a:ext cx="12191040" cy="685728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90012B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>
            <a:noAutofit/>
          </a:bodyPr>
          <a:lstStyle/>
          <a:p>
            <a:pPr>
              <a:lnSpc>
                <a:spcPct val="100000"/>
              </a:lnSpc>
            </a:pPr>
            <a:r>
              <a:rPr lang="es-ES" sz="1867" spc="-1">
                <a:solidFill>
                  <a:srgbClr val="000000"/>
                </a:solidFill>
                <a:latin typeface="Calibri"/>
                <a:ea typeface="DejaVu Sans"/>
              </a:rPr>
              <a:t>l</a:t>
            </a:r>
            <a:endParaRPr lang="es-ES" sz="1867" spc="-1">
              <a:latin typeface="Arial"/>
            </a:endParaRPr>
          </a:p>
        </p:txBody>
      </p:sp>
      <p:sp>
        <p:nvSpPr>
          <p:cNvPr id="108" name="CustomShape 3"/>
          <p:cNvSpPr/>
          <p:nvPr/>
        </p:nvSpPr>
        <p:spPr>
          <a:xfrm>
            <a:off x="3978324" y="4306717"/>
            <a:ext cx="4232684" cy="230808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1680" tIns="45600" rIns="91680" bIns="45600">
            <a:spAutoFit/>
          </a:bodyPr>
          <a:lstStyle/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  <a:p>
            <a:pPr algn="ctr"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@juanangepoyatos</a:t>
            </a:r>
          </a:p>
          <a:p>
            <a:pPr algn="ctr">
              <a:lnSpc>
                <a:spcPct val="100000"/>
              </a:lnSpc>
            </a:pPr>
            <a:r>
              <a:rPr lang="es-ES" sz="3600" spc="-1" dirty="0">
                <a:solidFill>
                  <a:srgbClr val="FFFFFF"/>
                </a:solidFill>
                <a:latin typeface="Calibri"/>
              </a:rPr>
              <a:t>Poyatos_jua@gva.es</a:t>
            </a:r>
          </a:p>
          <a:p>
            <a:pPr>
              <a:lnSpc>
                <a:spcPct val="100000"/>
              </a:lnSpc>
            </a:pPr>
            <a:endParaRPr lang="es-ES" sz="3600" spc="-1" dirty="0">
              <a:latin typeface="Arial"/>
            </a:endParaRPr>
          </a:p>
        </p:txBody>
      </p:sp>
      <p:pic>
        <p:nvPicPr>
          <p:cNvPr id="9" name="Imagen 8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9CEFA9ED-3E4A-4A89-918E-91D087BDD7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95520" y="2649676"/>
            <a:ext cx="5000000" cy="1800000"/>
          </a:xfrm>
          <a:prstGeom prst="rect">
            <a:avLst/>
          </a:prstGeom>
        </p:spPr>
      </p:pic>
      <p:sp>
        <p:nvSpPr>
          <p:cNvPr id="10" name="CustomShape 2">
            <a:extLst>
              <a:ext uri="{FF2B5EF4-FFF2-40B4-BE49-F238E27FC236}">
                <a16:creationId xmlns:a16="http://schemas.microsoft.com/office/drawing/2014/main" id="{5FF0221E-5BB3-476C-B264-7A31A23503AC}"/>
              </a:ext>
            </a:extLst>
          </p:cNvPr>
          <p:cNvSpPr/>
          <p:nvPr/>
        </p:nvSpPr>
        <p:spPr>
          <a:xfrm>
            <a:off x="4319221" y="1057750"/>
            <a:ext cx="3553558" cy="1526811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20000" tIns="60000" rIns="120000" bIns="6000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es-ES" sz="5333" spc="-1" dirty="0">
                <a:solidFill>
                  <a:srgbClr val="FFFFFF"/>
                </a:solidFill>
                <a:latin typeface="Calibri"/>
              </a:rPr>
              <a:t>¡GRACIAS!</a:t>
            </a:r>
            <a:endParaRPr lang="es-ES" sz="5333" spc="-1" dirty="0">
              <a:latin typeface="Arial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6" name="Picture 2">
            <a:extLst>
              <a:ext uri="{FF2B5EF4-FFF2-40B4-BE49-F238E27FC236}">
                <a16:creationId xmlns:a16="http://schemas.microsoft.com/office/drawing/2014/main" id="{0FFE0DFC-DAB5-4F04-B9EC-9064A3E7FA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88" y="184958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1" name="1 Título">
            <a:extLst>
              <a:ext uri="{FF2B5EF4-FFF2-40B4-BE49-F238E27FC236}">
                <a16:creationId xmlns:a16="http://schemas.microsoft.com/office/drawing/2014/main" id="{77F9A7F4-3468-49DD-9B1F-403F788945A2}"/>
              </a:ext>
            </a:extLst>
          </p:cNvPr>
          <p:cNvSpPr txBox="1">
            <a:spLocks/>
          </p:cNvSpPr>
          <p:nvPr/>
        </p:nvSpPr>
        <p:spPr>
          <a:xfrm>
            <a:off x="900026" y="-16068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5400" kern="1200" spc="-12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667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LAN ESPAÑA PUEDE</a:t>
            </a:r>
          </a:p>
        </p:txBody>
      </p:sp>
      <p:pic>
        <p:nvPicPr>
          <p:cNvPr id="9" name="Imagen 8" descr="Un dibujo con letras&#10;&#10;Descripción generada automáticamente con confianza media">
            <a:extLst>
              <a:ext uri="{FF2B5EF4-FFF2-40B4-BE49-F238E27FC236}">
                <a16:creationId xmlns:a16="http://schemas.microsoft.com/office/drawing/2014/main" id="{19CCD0B5-2B4C-41B4-B198-E680EFF00D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97311" y="0"/>
            <a:ext cx="2094689" cy="754088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6F76E6C8-749C-4188-8FEB-1F98C31AE5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914773"/>
            <a:ext cx="12192000" cy="5567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1934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34 Rectángulo redondeado"/>
          <p:cNvSpPr/>
          <p:nvPr/>
        </p:nvSpPr>
        <p:spPr>
          <a:xfrm>
            <a:off x="6883448" y="3779772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" name="2 Rectángulo redondeado"/>
          <p:cNvSpPr/>
          <p:nvPr/>
        </p:nvSpPr>
        <p:spPr>
          <a:xfrm>
            <a:off x="6886091" y="2658130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13" name="1 Título"/>
          <p:cNvSpPr txBox="1">
            <a:spLocks/>
          </p:cNvSpPr>
          <p:nvPr/>
        </p:nvSpPr>
        <p:spPr>
          <a:xfrm>
            <a:off x="1007435" y="3075419"/>
            <a:ext cx="1668016" cy="1059392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400" b="1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RR</a:t>
            </a:r>
          </a:p>
        </p:txBody>
      </p:sp>
      <p:sp>
        <p:nvSpPr>
          <p:cNvPr id="33" name="1 Título"/>
          <p:cNvSpPr txBox="1">
            <a:spLocks/>
          </p:cNvSpPr>
          <p:nvPr/>
        </p:nvSpPr>
        <p:spPr>
          <a:xfrm>
            <a:off x="6756667" y="2671025"/>
            <a:ext cx="1728192" cy="704988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ntidades Locales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4" name="1 Título"/>
          <p:cNvSpPr txBox="1">
            <a:spLocks/>
          </p:cNvSpPr>
          <p:nvPr/>
        </p:nvSpPr>
        <p:spPr>
          <a:xfrm>
            <a:off x="6721556" y="3793313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nver</a:t>
            </a: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. directa</a:t>
            </a: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6" name="35 Rectángulo redondeado"/>
          <p:cNvSpPr/>
          <p:nvPr/>
        </p:nvSpPr>
        <p:spPr>
          <a:xfrm>
            <a:off x="6883448" y="4739879"/>
            <a:ext cx="1450025" cy="480053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37" name="1 Título"/>
          <p:cNvSpPr txBox="1">
            <a:spLocks/>
          </p:cNvSpPr>
          <p:nvPr/>
        </p:nvSpPr>
        <p:spPr>
          <a:xfrm>
            <a:off x="6721556" y="4753420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1600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presas</a:t>
            </a: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16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1271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2991" y="4522024"/>
            <a:ext cx="345017" cy="33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2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16287" y="3543869"/>
            <a:ext cx="218423" cy="428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3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4536" y="2463857"/>
            <a:ext cx="316836" cy="3168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5" name="Picture 11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99"/>
          <a:stretch/>
        </p:blipFill>
        <p:spPr bwMode="auto">
          <a:xfrm>
            <a:off x="4166112" y="2553140"/>
            <a:ext cx="357716" cy="6900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9" name="1 Título"/>
          <p:cNvSpPr txBox="1">
            <a:spLocks/>
          </p:cNvSpPr>
          <p:nvPr/>
        </p:nvSpPr>
        <p:spPr>
          <a:xfrm>
            <a:off x="4458019" y="2678249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5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12" name="11 Flecha derecha"/>
          <p:cNvSpPr/>
          <p:nvPr/>
        </p:nvSpPr>
        <p:spPr>
          <a:xfrm>
            <a:off x="3070506" y="2783493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sp>
        <p:nvSpPr>
          <p:cNvPr id="46" name="45 Flecha derecha"/>
          <p:cNvSpPr/>
          <p:nvPr/>
        </p:nvSpPr>
        <p:spPr>
          <a:xfrm>
            <a:off x="3070506" y="3701551"/>
            <a:ext cx="960107" cy="298476"/>
          </a:xfrm>
          <a:prstGeom prst="rightArrow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2400"/>
          </a:p>
        </p:txBody>
      </p:sp>
      <p:pic>
        <p:nvPicPr>
          <p:cNvPr id="11276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0141" y="3707984"/>
            <a:ext cx="709655" cy="529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1 Título"/>
          <p:cNvSpPr txBox="1">
            <a:spLocks/>
          </p:cNvSpPr>
          <p:nvPr/>
        </p:nvSpPr>
        <p:spPr>
          <a:xfrm>
            <a:off x="4316903" y="3789541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4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49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V="1">
            <a:off x="5785437" y="2970856"/>
            <a:ext cx="1020349" cy="7863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5773869" y="4227462"/>
            <a:ext cx="1028496" cy="771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77" name="Picture 1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208368" y="3604694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2" name="1 Título">
            <a:extLst>
              <a:ext uri="{FF2B5EF4-FFF2-40B4-BE49-F238E27FC236}">
                <a16:creationId xmlns:a16="http://schemas.microsoft.com/office/drawing/2014/main" id="{09789E6D-1BEA-43FA-878B-677AF0C75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JECUCIÓN DEL MRR</a:t>
            </a:r>
            <a:endParaRPr lang="es-ES" sz="2667" b="1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cxnSp>
        <p:nvCxnSpPr>
          <p:cNvPr id="43" name="5 Conector recto">
            <a:extLst>
              <a:ext uri="{FF2B5EF4-FFF2-40B4-BE49-F238E27FC236}">
                <a16:creationId xmlns:a16="http://schemas.microsoft.com/office/drawing/2014/main" id="{A66C880A-EE9E-444A-9910-4BA33DBB13DB}"/>
              </a:ext>
            </a:extLst>
          </p:cNvPr>
          <p:cNvCxnSpPr>
            <a:cxnSpLocks/>
          </p:cNvCxnSpPr>
          <p:nvPr/>
        </p:nvCxnSpPr>
        <p:spPr>
          <a:xfrm>
            <a:off x="4703379" y="644691"/>
            <a:ext cx="724927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13">
            <a:extLst>
              <a:ext uri="{FF2B5EF4-FFF2-40B4-BE49-F238E27FC236}">
                <a16:creationId xmlns:a16="http://schemas.microsoft.com/office/drawing/2014/main" id="{E90A53B8-2044-449D-9022-259AD49E2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079562" y="2480827"/>
            <a:ext cx="111393" cy="7232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7" name="1 Título">
            <a:extLst>
              <a:ext uri="{FF2B5EF4-FFF2-40B4-BE49-F238E27FC236}">
                <a16:creationId xmlns:a16="http://schemas.microsoft.com/office/drawing/2014/main" id="{C7A36C40-6632-4575-A0E1-55AB0E61E28B}"/>
              </a:ext>
            </a:extLst>
          </p:cNvPr>
          <p:cNvSpPr txBox="1">
            <a:spLocks/>
          </p:cNvSpPr>
          <p:nvPr/>
        </p:nvSpPr>
        <p:spPr>
          <a:xfrm>
            <a:off x="8161506" y="2673497"/>
            <a:ext cx="1779097" cy="6905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>
                <a:schemeClr val="tx1"/>
              </a:buClr>
            </a:pPr>
            <a:r>
              <a:rPr lang="es-ES" sz="2133" b="1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10%</a:t>
            </a: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buClr>
                <a:schemeClr val="tx1"/>
              </a:buClr>
            </a:pPr>
            <a:endParaRPr lang="es-ES" sz="2133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3CC01B4C-0DC3-4990-BCB4-9DC84EF4424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456029" y="2641956"/>
            <a:ext cx="1574894" cy="1453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4841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id="{65DD04C8-3A38-40CD-B73C-9CAAA8C5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tribución MRR en la Comunitat septiembre 22</a:t>
            </a:r>
          </a:p>
        </p:txBody>
      </p:sp>
      <p:pic>
        <p:nvPicPr>
          <p:cNvPr id="5" name="Imagen 4">
            <a:extLst>
              <a:ext uri="{FF2B5EF4-FFF2-40B4-BE49-F238E27FC236}">
                <a16:creationId xmlns:a16="http://schemas.microsoft.com/office/drawing/2014/main" id="{F8488006-1FB3-4C33-8A42-42E7414330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70796" y="776287"/>
            <a:ext cx="8189429" cy="60497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1 Título">
            <a:extLst>
              <a:ext uri="{FF2B5EF4-FFF2-40B4-BE49-F238E27FC236}">
                <a16:creationId xmlns:a16="http://schemas.microsoft.com/office/drawing/2014/main" id="{65DD04C8-3A38-40CD-B73C-9CAAA8C5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8903" y="-148287"/>
            <a:ext cx="10972800" cy="1143000"/>
          </a:xfrm>
        </p:spPr>
        <p:txBody>
          <a:bodyPr>
            <a:noAutofit/>
          </a:bodyPr>
          <a:lstStyle/>
          <a:p>
            <a:pPr algn="l">
              <a:buClr>
                <a:schemeClr val="tx1"/>
              </a:buClr>
            </a:pPr>
            <a:r>
              <a:rPr lang="es-ES" sz="2667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istribución MRR en la Comunitat septiembre 22</a:t>
            </a: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974CFD3B-395A-48E9-B5F7-7F25AEF4F8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101" y="815807"/>
            <a:ext cx="8480932" cy="4312784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A249269A-FE7F-4557-8866-C4F3EBDFA1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9137" y="3118225"/>
            <a:ext cx="3852863" cy="3662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0679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INCIPALES REFORMAS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D36F8CF4-7E1A-ABA1-781D-B43016CEC0C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8644" y="872162"/>
            <a:ext cx="11106150" cy="5726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3739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1 Título">
            <a:extLst>
              <a:ext uri="{FF2B5EF4-FFF2-40B4-BE49-F238E27FC236}">
                <a16:creationId xmlns:a16="http://schemas.microsoft.com/office/drawing/2014/main" id="{4359B870-E5A4-4F62-AF39-4B6751E770C2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SPLIEGUE DEL PLAN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40446648-121E-40C1-B337-E5F48BF185B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2862" y="1404937"/>
            <a:ext cx="12106275" cy="404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5221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" name="Diapositiva de think-cell" r:id="rId6" imgW="396" imgH="396" progId="TCLayout.ActiveDocument.1">
                  <p:embed/>
                </p:oleObj>
              </mc:Choice>
              <mc:Fallback>
                <p:oleObj name="Diapositiva de think-cell" r:id="rId6" imgW="396" imgH="396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kumimoji="0" lang="es-ES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0704B-CE94-48CC-AF30-84932A1262A7}" type="slidenum">
              <a:rPr kumimoji="0" lang="es-ES_tradnl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_tradnl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8C01FCD8-339D-42E1-827A-BB76FF47AD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260649"/>
            <a:ext cx="584200" cy="569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Imagen 4">
            <a:extLst>
              <a:ext uri="{FF2B5EF4-FFF2-40B4-BE49-F238E27FC236}">
                <a16:creationId xmlns:a16="http://schemas.microsoft.com/office/drawing/2014/main" id="{E6EDD5A7-8CF4-2A53-ED83-F62AA810FEE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8899" y="754089"/>
            <a:ext cx="10337534" cy="5972797"/>
          </a:xfrm>
          <a:prstGeom prst="rect">
            <a:avLst/>
          </a:prstGeom>
        </p:spPr>
      </p:pic>
      <p:sp>
        <p:nvSpPr>
          <p:cNvPr id="8" name="1 Título">
            <a:extLst>
              <a:ext uri="{FF2B5EF4-FFF2-40B4-BE49-F238E27FC236}">
                <a16:creationId xmlns:a16="http://schemas.microsoft.com/office/drawing/2014/main" id="{5EDE048E-AA7C-410F-B545-D652DD8C3B1A}"/>
              </a:ext>
            </a:extLst>
          </p:cNvPr>
          <p:cNvSpPr txBox="1">
            <a:spLocks/>
          </p:cNvSpPr>
          <p:nvPr/>
        </p:nvSpPr>
        <p:spPr>
          <a:xfrm>
            <a:off x="717206" y="-175800"/>
            <a:ext cx="10972800" cy="1143000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buClr>
                <a:schemeClr val="tx1"/>
              </a:buClr>
            </a:pPr>
            <a:r>
              <a:rPr lang="es-ES" sz="2667" spc="-12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SPLIEGUE DEL PLAN</a:t>
            </a:r>
          </a:p>
        </p:txBody>
      </p:sp>
    </p:spTree>
    <p:extLst>
      <p:ext uri="{BB962C8B-B14F-4D97-AF65-F5344CB8AC3E}">
        <p14:creationId xmlns:p14="http://schemas.microsoft.com/office/powerpoint/2010/main" val="13987931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AA5VmbTKapWToid9v7ew"/>
</p:tagLst>
</file>

<file path=ppt/theme/theme1.xml><?xml version="1.0" encoding="utf-8"?>
<a:theme xmlns:a="http://schemas.openxmlformats.org/drawingml/2006/main" name="Metropolitana">
  <a:themeElements>
    <a:clrScheme name="Adyacencia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Metropolitan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a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59</TotalTime>
  <Words>429</Words>
  <Application>Microsoft Office PowerPoint</Application>
  <PresentationFormat>Panorámica</PresentationFormat>
  <Paragraphs>130</Paragraphs>
  <Slides>29</Slides>
  <Notes>24</Notes>
  <HiddenSlides>0</HiddenSlides>
  <MMClips>1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9</vt:i4>
      </vt:variant>
    </vt:vector>
  </HeadingPairs>
  <TitlesOfParts>
    <vt:vector size="39" baseType="lpstr">
      <vt:lpstr>Arial</vt:lpstr>
      <vt:lpstr>Arial Rounded MT Bold</vt:lpstr>
      <vt:lpstr>Barlow Light</vt:lpstr>
      <vt:lpstr>Calibri</vt:lpstr>
      <vt:lpstr>Calibri Light</vt:lpstr>
      <vt:lpstr>Georgia</vt:lpstr>
      <vt:lpstr>Lucida Sans</vt:lpstr>
      <vt:lpstr>Roboto</vt:lpstr>
      <vt:lpstr>Metropolitana</vt:lpstr>
      <vt:lpstr>Diapositiva de think-cell</vt:lpstr>
      <vt:lpstr>Presentación de PowerPoint</vt:lpstr>
      <vt:lpstr>Presentación de PowerPoint</vt:lpstr>
      <vt:lpstr>Presentación de PowerPoint</vt:lpstr>
      <vt:lpstr>EJECUCIÓN DEL MRR</vt:lpstr>
      <vt:lpstr>Distribución MRR en la Comunitat septiembre 22</vt:lpstr>
      <vt:lpstr>Distribución MRR en la Comunitat septiembre 22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ROL DE LA OFICINA VALENCIANA PARA LA RECUPERA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TRABAJO CON LOS PERTE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ficina Valenciana de Evaluación</dc:title>
  <dc:creator>Pedro Martinez Aparicio</dc:creator>
  <cp:lastModifiedBy>POYATOS LEÓN, JUAN ÁNGEL</cp:lastModifiedBy>
  <cp:revision>652</cp:revision>
  <cp:lastPrinted>2020-10-01T10:50:09Z</cp:lastPrinted>
  <dcterms:created xsi:type="dcterms:W3CDTF">2016-12-21T07:48:34Z</dcterms:created>
  <dcterms:modified xsi:type="dcterms:W3CDTF">2023-01-27T10:53:34Z</dcterms:modified>
</cp:coreProperties>
</file>